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85" r:id="rId2"/>
  </p:sldMasterIdLst>
  <p:notesMasterIdLst>
    <p:notesMasterId r:id="rId23"/>
  </p:notesMasterIdLst>
  <p:handoutMasterIdLst>
    <p:handoutMasterId r:id="rId24"/>
  </p:handoutMasterIdLst>
  <p:sldIdLst>
    <p:sldId id="462" r:id="rId3"/>
    <p:sldId id="449" r:id="rId4"/>
    <p:sldId id="467" r:id="rId5"/>
    <p:sldId id="464" r:id="rId6"/>
    <p:sldId id="463" r:id="rId7"/>
    <p:sldId id="450" r:id="rId8"/>
    <p:sldId id="451" r:id="rId9"/>
    <p:sldId id="452" r:id="rId10"/>
    <p:sldId id="453" r:id="rId11"/>
    <p:sldId id="454" r:id="rId12"/>
    <p:sldId id="459" r:id="rId13"/>
    <p:sldId id="460" r:id="rId14"/>
    <p:sldId id="461" r:id="rId15"/>
    <p:sldId id="447" r:id="rId16"/>
    <p:sldId id="455" r:id="rId17"/>
    <p:sldId id="458" r:id="rId18"/>
    <p:sldId id="457" r:id="rId19"/>
    <p:sldId id="466" r:id="rId20"/>
    <p:sldId id="456" r:id="rId21"/>
    <p:sldId id="448" r:id="rId22"/>
  </p:sldIdLst>
  <p:sldSz cx="9144000" cy="6858000" type="screen4x3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067">
          <p15:clr>
            <a:srgbClr val="A4A3A4"/>
          </p15:clr>
        </p15:guide>
        <p15:guide id="2" orient="horz" pos="3783">
          <p15:clr>
            <a:srgbClr val="A4A3A4"/>
          </p15:clr>
        </p15:guide>
        <p15:guide id="3" orient="horz" pos="791">
          <p15:clr>
            <a:srgbClr val="A4A3A4"/>
          </p15:clr>
        </p15:guide>
        <p15:guide id="4" orient="horz" pos="647">
          <p15:clr>
            <a:srgbClr val="A4A3A4"/>
          </p15:clr>
        </p15:guide>
        <p15:guide id="5" orient="horz" pos="540">
          <p15:clr>
            <a:srgbClr val="A4A3A4"/>
          </p15:clr>
        </p15:guide>
        <p15:guide id="6" orient="horz" pos="353">
          <p15:clr>
            <a:srgbClr val="A4A3A4"/>
          </p15:clr>
        </p15:guide>
        <p15:guide id="7" orient="horz" pos="239">
          <p15:clr>
            <a:srgbClr val="A4A3A4"/>
          </p15:clr>
        </p15:guide>
        <p15:guide id="8" orient="horz" pos="3546">
          <p15:clr>
            <a:srgbClr val="A4A3A4"/>
          </p15:clr>
        </p15:guide>
        <p15:guide id="9" pos="261">
          <p15:clr>
            <a:srgbClr val="A4A3A4"/>
          </p15:clr>
        </p15:guide>
        <p15:guide id="11" pos="2947">
          <p15:clr>
            <a:srgbClr val="A4A3A4"/>
          </p15:clr>
        </p15:guide>
        <p15:guide id="12" pos="2819">
          <p15:clr>
            <a:srgbClr val="A4A3A4"/>
          </p15:clr>
        </p15:guide>
        <p15:guide id="13" pos="114">
          <p15:clr>
            <a:srgbClr val="A4A3A4"/>
          </p15:clr>
        </p15:guide>
        <p15:guide id="14" pos="5500">
          <p15:clr>
            <a:srgbClr val="A4A3A4"/>
          </p15:clr>
        </p15:guide>
        <p15:guide id="15" pos="564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C00000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969EC77-1B40-4C77-A995-AF05D22D4D0E}" styleName="DPDHL Table White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bg1">
              <a:tint val="100000"/>
            </a:schemeClr>
          </a:solidFill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solidFill>
            <a:schemeClr val="bg1"/>
          </a:solidFill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solidFill>
            <a:schemeClr val="bg1"/>
          </a:solidFill>
        </a:fill>
      </a:tcStyle>
    </a:firstRow>
  </a:tblStyle>
  <a:tblStyle styleId="{09810C2D-2C2F-4581-8AFF-CD78C2D722A2}" styleName="DPDHL Table No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53" autoAdjust="0"/>
    <p:restoredTop sz="91297" autoAdjust="0"/>
  </p:normalViewPr>
  <p:slideViewPr>
    <p:cSldViewPr snapToGrid="0" snapToObjects="1">
      <p:cViewPr>
        <p:scale>
          <a:sx n="80" d="100"/>
          <a:sy n="80" d="100"/>
        </p:scale>
        <p:origin x="-1116" y="102"/>
      </p:cViewPr>
      <p:guideLst>
        <p:guide orient="horz" pos="4067"/>
        <p:guide orient="horz" pos="3783"/>
        <p:guide orient="horz" pos="791"/>
        <p:guide orient="horz" pos="647"/>
        <p:guide orient="horz" pos="540"/>
        <p:guide orient="horz" pos="353"/>
        <p:guide orient="horz" pos="239"/>
        <p:guide orient="horz" pos="3546"/>
        <p:guide orient="horz" pos="4206"/>
        <p:guide pos="261"/>
        <p:guide pos="2947"/>
        <p:guide pos="2819"/>
        <p:guide pos="114"/>
        <p:guide pos="5500"/>
        <p:guide pos="56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 snapToObjects="1" showGuides="1">
      <p:cViewPr varScale="1">
        <p:scale>
          <a:sx n="81" d="100"/>
          <a:sy n="81" d="100"/>
        </p:scale>
        <p:origin x="-2004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54600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/>
            </a:lvl1pPr>
          </a:lstStyle>
          <a:p>
            <a:fld id="{19D11D04-14B6-471D-A1D6-B426EF7888B1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4/28/2017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54600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/>
            </a:lvl1pPr>
          </a:lstStyle>
          <a:p>
            <a:r>
              <a:rPr lang="en-US" dirty="0" smtClean="0">
                <a:latin typeface="Arial" pitchFamily="34" charset="0"/>
                <a:cs typeface="Arial" pitchFamily="34" charset="0"/>
              </a:rPr>
              <a:t>Hand out </a:t>
            </a:r>
            <a:fld id="{1987F2A0-9623-4C79-B830-6D590DA5FFFF}" type="slidenum">
              <a:rPr lang="en-US" smtClean="0">
                <a:latin typeface="Arial" pitchFamily="34" charset="0"/>
                <a:cs typeface="Arial" pitchFamily="34" charset="0"/>
              </a:rPr>
              <a:pPr/>
              <a:t>‹Nº›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4542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54600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/>
            </a:lvl1pPr>
          </a:lstStyle>
          <a:p>
            <a:fld id="{2636F879-443D-410F-A2CF-15E984F48DC2}" type="datetimeFigureOut">
              <a:rPr lang="en-US" smtClean="0"/>
              <a:pPr/>
              <a:t>4/28/2017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 err="1" smtClean="0"/>
              <a:t>TextmasterformatedurchKlicken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Ebene</a:t>
            </a:r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54600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 b="0"/>
            </a:lvl1pPr>
          </a:lstStyle>
          <a:p>
            <a:r>
              <a:rPr lang="en-US" smtClean="0"/>
              <a:t>Notice </a:t>
            </a:r>
            <a:fld id="{AE19FBA5-BE7F-4824-B54D-C07EBA2A4967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054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2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4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2pPr>
    <a:lvl3pPr marL="163513" indent="-163513" algn="l" defTabSz="914400" rtl="0" eaLnBrk="1" latinLnBrk="0" hangingPunct="1">
      <a:spcAft>
        <a:spcPts val="200"/>
      </a:spcAft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3538" indent="-176213" algn="l" defTabSz="914400" rtl="0" eaLnBrk="1" latinLnBrk="0" hangingPunct="1">
      <a:spcAft>
        <a:spcPts val="200"/>
      </a:spcAft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39750" indent="-176213" algn="l" defTabSz="309563" rtl="0" eaLnBrk="1" latinLnBrk="0" hangingPunct="1">
      <a:spcAft>
        <a:spcPts val="200"/>
      </a:spcAft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Notice </a:t>
            </a:r>
            <a:fld id="{AE19FBA5-BE7F-4824-B54D-C07EBA2A4967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5198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46800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998014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5376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81994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Nº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171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1371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5731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14359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92454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4246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71361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1333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º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00135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50661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77932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2957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86588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63922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8357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5602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04389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º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resentation title | Location | xx </a:t>
            </a:r>
            <a:r>
              <a:rPr lang="en-US" smtClean="0"/>
              <a:t>Month 20xx</a:t>
            </a:r>
            <a:endParaRPr lang="en-US" dirty="0" smtClean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30345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º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resentation title | Location | xx </a:t>
            </a:r>
            <a:r>
              <a:rPr lang="en-US" smtClean="0"/>
              <a:t>Month 20xx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Content Placeholder 14"/>
          <p:cNvSpPr>
            <a:spLocks noGrp="1"/>
          </p:cNvSpPr>
          <p:nvPr>
            <p:ph sz="quarter" idx="32"/>
          </p:nvPr>
        </p:nvSpPr>
        <p:spPr>
          <a:xfrm>
            <a:off x="456433" y="1174850"/>
            <a:ext cx="3647693" cy="2268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Content Placeholder 14"/>
          <p:cNvSpPr>
            <a:spLocks noGrp="1"/>
          </p:cNvSpPr>
          <p:nvPr>
            <p:ph sz="quarter" idx="33"/>
          </p:nvPr>
        </p:nvSpPr>
        <p:spPr>
          <a:xfrm>
            <a:off x="4223722" y="1121123"/>
            <a:ext cx="2196000" cy="216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Content Placeholder 14"/>
          <p:cNvSpPr>
            <a:spLocks noGrp="1"/>
          </p:cNvSpPr>
          <p:nvPr>
            <p:ph sz="quarter" idx="34"/>
          </p:nvPr>
        </p:nvSpPr>
        <p:spPr>
          <a:xfrm>
            <a:off x="456433" y="3647975"/>
            <a:ext cx="3647693" cy="226800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3"/>
            <a:endParaRPr lang="en-US" dirty="0" smtClean="0"/>
          </a:p>
          <a:p>
            <a:pPr lvl="3"/>
            <a:endParaRPr lang="en-US" dirty="0" smtClean="0"/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14"/>
          <p:cNvSpPr>
            <a:spLocks noGrp="1"/>
          </p:cNvSpPr>
          <p:nvPr>
            <p:ph sz="quarter" idx="35"/>
          </p:nvPr>
        </p:nvSpPr>
        <p:spPr>
          <a:xfrm>
            <a:off x="4223723" y="3322750"/>
            <a:ext cx="4469333" cy="267022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4"/>
            <a:endParaRPr lang="en-US" dirty="0" smtClean="0"/>
          </a:p>
          <a:p>
            <a:pPr lvl="4"/>
            <a:endParaRPr lang="en-US" dirty="0" smtClean="0"/>
          </a:p>
          <a:p>
            <a:pPr lvl="4"/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36"/>
          </p:nvPr>
        </p:nvSpPr>
        <p:spPr>
          <a:xfrm>
            <a:off x="925550" y="3264999"/>
            <a:ext cx="2880000" cy="373351"/>
          </a:xfrm>
        </p:spPr>
        <p:txBody>
          <a:bodyPr/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37"/>
          </p:nvPr>
        </p:nvSpPr>
        <p:spPr>
          <a:xfrm>
            <a:off x="6497056" y="1121123"/>
            <a:ext cx="2196000" cy="23353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Content Placeholder 19"/>
          <p:cNvSpPr>
            <a:spLocks noGrp="1"/>
          </p:cNvSpPr>
          <p:nvPr>
            <p:ph sz="quarter" idx="38"/>
          </p:nvPr>
        </p:nvSpPr>
        <p:spPr>
          <a:xfrm>
            <a:off x="964052" y="5636725"/>
            <a:ext cx="2880000" cy="373351"/>
          </a:xfrm>
        </p:spPr>
        <p:txBody>
          <a:bodyPr/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0135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º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resentation title | Location | xx </a:t>
            </a:r>
            <a:r>
              <a:rPr lang="en-US" smtClean="0"/>
              <a:t>Month 20xx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Content Placeholder 14"/>
          <p:cNvSpPr>
            <a:spLocks noGrp="1"/>
          </p:cNvSpPr>
          <p:nvPr>
            <p:ph sz="quarter" idx="32"/>
          </p:nvPr>
        </p:nvSpPr>
        <p:spPr>
          <a:xfrm>
            <a:off x="433418" y="1113298"/>
            <a:ext cx="3647693" cy="2124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Content Placeholder 14"/>
          <p:cNvSpPr>
            <a:spLocks noGrp="1"/>
          </p:cNvSpPr>
          <p:nvPr>
            <p:ph sz="quarter" idx="33"/>
          </p:nvPr>
        </p:nvSpPr>
        <p:spPr>
          <a:xfrm>
            <a:off x="4209180" y="3558752"/>
            <a:ext cx="2196000" cy="239357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Content Placeholder 14"/>
          <p:cNvSpPr>
            <a:spLocks noGrp="1"/>
          </p:cNvSpPr>
          <p:nvPr>
            <p:ph sz="quarter" idx="34"/>
          </p:nvPr>
        </p:nvSpPr>
        <p:spPr>
          <a:xfrm>
            <a:off x="471838" y="3459117"/>
            <a:ext cx="3647693" cy="212400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3"/>
            <a:endParaRPr lang="en-US" dirty="0" smtClean="0"/>
          </a:p>
          <a:p>
            <a:pPr lvl="3"/>
            <a:endParaRPr lang="en-US" dirty="0" smtClean="0"/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14"/>
          <p:cNvSpPr>
            <a:spLocks noGrp="1"/>
          </p:cNvSpPr>
          <p:nvPr>
            <p:ph sz="quarter" idx="35"/>
          </p:nvPr>
        </p:nvSpPr>
        <p:spPr>
          <a:xfrm>
            <a:off x="4204838" y="1113297"/>
            <a:ext cx="4500000" cy="2448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4"/>
            <a:endParaRPr lang="en-US" dirty="0" smtClean="0"/>
          </a:p>
          <a:p>
            <a:pPr lvl="4"/>
            <a:endParaRPr lang="en-US" dirty="0" smtClean="0"/>
          </a:p>
          <a:p>
            <a:pPr lvl="4"/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36"/>
          </p:nvPr>
        </p:nvSpPr>
        <p:spPr>
          <a:xfrm>
            <a:off x="701124" y="5578975"/>
            <a:ext cx="3494088" cy="396000"/>
          </a:xfrm>
        </p:spPr>
        <p:txBody>
          <a:bodyPr/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37"/>
          </p:nvPr>
        </p:nvSpPr>
        <p:spPr>
          <a:xfrm>
            <a:off x="6505528" y="3558753"/>
            <a:ext cx="2196000" cy="239357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1" name="Content Placeholder 19"/>
          <p:cNvSpPr>
            <a:spLocks noGrp="1"/>
          </p:cNvSpPr>
          <p:nvPr>
            <p:ph sz="quarter" idx="38"/>
          </p:nvPr>
        </p:nvSpPr>
        <p:spPr>
          <a:xfrm>
            <a:off x="585864" y="3158967"/>
            <a:ext cx="3494088" cy="396000"/>
          </a:xfrm>
        </p:spPr>
        <p:txBody>
          <a:bodyPr/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0135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able of content: 2 columns,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08000" cy="51783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ontent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8000" y="1548000"/>
            <a:ext cx="3996000" cy="4572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 baseline="0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1	Insert here the copy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80000" y="1548000"/>
            <a:ext cx="3996000" cy="4572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1	Insert here the copy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  <a:endParaRPr lang="en-US" noProof="0" dirty="0"/>
          </a:p>
        </p:txBody>
      </p:sp>
      <p:cxnSp>
        <p:nvCxnSpPr>
          <p:cNvPr id="6" name="Gerade Verbindung 10"/>
          <p:cNvCxnSpPr/>
          <p:nvPr userDrawn="1"/>
        </p:nvCxnSpPr>
        <p:spPr>
          <a:xfrm>
            <a:off x="465138" y="985838"/>
            <a:ext cx="8208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2552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dirty="0" smtClean="0">
                <a:solidFill>
                  <a:srgbClr val="000000"/>
                </a:solidFill>
              </a:rPr>
              <a:t>Presentation title | Location | xx </a:t>
            </a:r>
            <a:r>
              <a:rPr smtClean="0">
                <a:solidFill>
                  <a:srgbClr val="000000"/>
                </a:solidFill>
              </a:rPr>
              <a:t>Month 20xx</a:t>
            </a:r>
            <a:endParaRPr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62592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2"/>
          <p:cNvSpPr>
            <a:spLocks noGrp="1"/>
          </p:cNvSpPr>
          <p:nvPr>
            <p:ph type="pic" sz="quarter" idx="8"/>
          </p:nvPr>
        </p:nvSpPr>
        <p:spPr bwMode="hidden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/>
            </a:lvl1pPr>
          </a:lstStyle>
          <a:p>
            <a:r>
              <a:rPr lang="en-GB" smtClean="0"/>
              <a:t>Drag picture to placeholder or click icon to add</a:t>
            </a:r>
            <a:endParaRPr lang="en-US" dirty="0"/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0" y="240000"/>
            <a:ext cx="8784000" cy="168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 hasCustomPrompt="1"/>
          </p:nvPr>
        </p:nvSpPr>
        <p:spPr>
          <a:xfrm>
            <a:off x="414000" y="1219211"/>
            <a:ext cx="8316000" cy="1847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37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33603"/>
            <a:ext cx="5760000" cy="288220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/>
            </a:lvl1pPr>
          </a:lstStyle>
          <a:p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14" y="6221651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 smtClean="0"/>
              <a:t>PLEASE INSERT CLASSIFICATION HERE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6000" y="513602"/>
            <a:ext cx="1800000" cy="346023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3067200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18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720014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4285155"/>
            <a:ext cx="8316000" cy="4737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4714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87326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1.xml"/><Relationship Id="rId21" Type="http://schemas.openxmlformats.org/officeDocument/2006/relationships/vmlDrawing" Target="../drawings/vmlDrawing2.v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017906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1" name="think-cell Folie" r:id="rId12" imgW="360" imgH="360" progId="">
                  <p:embed/>
                </p:oleObj>
              </mc:Choice>
              <mc:Fallback>
                <p:oleObj name="think-cell Folie" r:id="rId12" imgW="360" imgH="360" progId="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1" name="meta-classification"/>
          <p:cNvSpPr txBox="1"/>
          <p:nvPr/>
        </p:nvSpPr>
        <p:spPr bwMode="gray">
          <a:xfrm>
            <a:off x="414000" y="-1"/>
            <a:ext cx="1756891" cy="222108"/>
          </a:xfrm>
          <a:prstGeom prst="rect">
            <a:avLst/>
          </a:prstGeom>
          <a:noFill/>
        </p:spPr>
        <p:txBody>
          <a:bodyPr wrap="none" lIns="0" tIns="8280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900" b="1" i="0" u="none" strike="noStrike" kern="0" cap="all" spc="0" normalizeH="0" baseline="0" noProof="0" dirty="0" smtClean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Internal and confidential</a:t>
            </a:r>
            <a:endParaRPr kumimoji="0" lang="en-US" sz="900" b="1" i="0" u="none" strike="noStrike" kern="0" cap="all" spc="0" normalizeH="0" baseline="0" noProof="0" dirty="0">
              <a:ln>
                <a:noFill/>
              </a:ln>
              <a:solidFill>
                <a:srgbClr val="969696"/>
              </a:solidFill>
              <a:effectLst/>
              <a:uLnTx/>
              <a:uFillTx/>
              <a:latin typeface="+mn-lt"/>
              <a:ea typeface="+mn-ea"/>
              <a:cs typeface="Arial"/>
            </a:endParaRPr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de-DE" dirty="0"/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4"/>
          </p:nvPr>
        </p:nvSpPr>
        <p:spPr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610A7141-4479-40B7-966D-BCE9989F046D}" type="slidenum">
              <a:rPr lang="de-DE" smtClean="0"/>
              <a:pPr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772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4" r:id="rId2"/>
    <p:sldLayoutId id="2147483659" r:id="rId3"/>
    <p:sldLayoutId id="2147483695" r:id="rId4"/>
    <p:sldLayoutId id="2147483696" r:id="rId5"/>
    <p:sldLayoutId id="2147483906" r:id="rId6"/>
    <p:sldLayoutId id="2147483907" r:id="rId7"/>
    <p:sldLayoutId id="2147483908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394433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1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40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71282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  <p:sldLayoutId id="2147483897" r:id="rId12"/>
    <p:sldLayoutId id="2147483898" r:id="rId13"/>
    <p:sldLayoutId id="2147483899" r:id="rId14"/>
    <p:sldLayoutId id="2147483900" r:id="rId15"/>
    <p:sldLayoutId id="2147483901" r:id="rId16"/>
    <p:sldLayoutId id="2147483902" r:id="rId17"/>
    <p:sldLayoutId id="2147483903" r:id="rId18"/>
    <p:sldLayoutId id="2147483904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5" Type="http://schemas.microsoft.com/office/2007/relationships/hdphoto" Target="../media/hdphoto3.wdp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" y="-6095"/>
            <a:ext cx="9143999" cy="6864093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7"/>
          </p:nvPr>
        </p:nvSpPr>
        <p:spPr>
          <a:xfrm rot="10800000">
            <a:off x="180000" y="240000"/>
            <a:ext cx="8784000" cy="268608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41924" y="449548"/>
            <a:ext cx="8544902" cy="172431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6000"/>
              </a:lnSpc>
              <a:spcBef>
                <a:spcPct val="0"/>
              </a:spcBef>
              <a:buNone/>
              <a:defRPr sz="5500" kern="1200" cap="none" normalizeH="0" baseline="0">
                <a:solidFill>
                  <a:srgbClr val="D4051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400"/>
              </a:lnSpc>
            </a:pPr>
            <a:r>
              <a:rPr lang="es-PA" sz="4800" b="1" i="1" dirty="0" smtClean="0"/>
              <a:t>El </a:t>
            </a:r>
            <a:r>
              <a:rPr lang="es-PA" sz="4800" b="1" i="1" dirty="0" err="1" smtClean="0"/>
              <a:t>eComm</a:t>
            </a:r>
            <a:r>
              <a:rPr lang="es-PA" sz="4800" b="1" i="1" dirty="0" smtClean="0"/>
              <a:t> Internacional </a:t>
            </a:r>
          </a:p>
          <a:p>
            <a:pPr>
              <a:lnSpc>
                <a:spcPts val="4400"/>
              </a:lnSpc>
            </a:pPr>
            <a:r>
              <a:rPr lang="es-PA" sz="3200" i="1" dirty="0" smtClean="0"/>
              <a:t>La opción de mayor crecimiento para el sector </a:t>
            </a:r>
            <a:r>
              <a:rPr lang="es-PA" sz="3200" i="1" dirty="0" err="1" smtClean="0"/>
              <a:t>Retail</a:t>
            </a:r>
            <a:endParaRPr lang="es-PA" sz="3200" i="1" dirty="0"/>
          </a:p>
        </p:txBody>
      </p:sp>
    </p:spTree>
    <p:extLst>
      <p:ext uri="{BB962C8B-B14F-4D97-AF65-F5344CB8AC3E}">
        <p14:creationId xmlns:p14="http://schemas.microsoft.com/office/powerpoint/2010/main" val="2569310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738" name="Picture 2" descr="C:\Users\santimar\Desktop\growth.jpg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208" r="4628"/>
          <a:stretch/>
        </p:blipFill>
        <p:spPr bwMode="auto">
          <a:xfrm>
            <a:off x="4920332" y="2893324"/>
            <a:ext cx="2845255" cy="2084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0"/>
          <p:cNvSpPr/>
          <p:nvPr/>
        </p:nvSpPr>
        <p:spPr bwMode="auto">
          <a:xfrm>
            <a:off x="1446663" y="2156348"/>
            <a:ext cx="6318924" cy="3563288"/>
          </a:xfrm>
          <a:prstGeom prst="roundRect">
            <a:avLst>
              <a:gd name="adj" fmla="val 6667"/>
            </a:avLst>
          </a:prstGeom>
          <a:noFill/>
          <a:ln w="127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599068" y="2434663"/>
            <a:ext cx="3418754" cy="3006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2800" dirty="0"/>
              <a:t>Los </a:t>
            </a:r>
            <a:r>
              <a:rPr lang="es-MX" sz="2800" dirty="0" smtClean="0"/>
              <a:t>Minoristas </a:t>
            </a:r>
            <a:r>
              <a:rPr lang="es-MX" sz="2800" dirty="0"/>
              <a:t>con soluciones de </a:t>
            </a:r>
            <a:endParaRPr lang="es-MX" sz="2800" dirty="0" smtClean="0"/>
          </a:p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3200" b="1" i="1" dirty="0" smtClean="0">
                <a:solidFill>
                  <a:srgbClr val="C00000"/>
                </a:solidFill>
              </a:rPr>
              <a:t>Envío Premium </a:t>
            </a:r>
            <a:r>
              <a:rPr lang="es-MX" sz="2800" dirty="0"/>
              <a:t>c</a:t>
            </a:r>
            <a:r>
              <a:rPr lang="es-MX" sz="2800" dirty="0" smtClean="0"/>
              <a:t>recen </a:t>
            </a:r>
            <a:r>
              <a:rPr lang="es-MX" sz="3200" b="1" i="1" dirty="0">
                <a:solidFill>
                  <a:srgbClr val="C00000"/>
                </a:solidFill>
              </a:rPr>
              <a:t>1.6</a:t>
            </a:r>
            <a:r>
              <a:rPr lang="es-MX" sz="2800" dirty="0"/>
              <a:t> </a:t>
            </a:r>
            <a:r>
              <a:rPr lang="es-MX" sz="2800" dirty="0" smtClean="0"/>
              <a:t>veces </a:t>
            </a:r>
            <a:r>
              <a:rPr lang="es-MX" sz="2800" dirty="0"/>
              <a:t>más rápido que el resto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244549" y="0"/>
            <a:ext cx="2307265" cy="30834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359407" y="1269242"/>
            <a:ext cx="5965200" cy="545910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Datos sobre </a:t>
            </a:r>
            <a:r>
              <a:rPr kumimoji="0" lang="es-MX" sz="160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eComm</a:t>
            </a: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a nivel Global</a:t>
            </a:r>
            <a:endParaRPr kumimoji="0" lang="es-PA" sz="160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3" name="Title 9"/>
          <p:cNvSpPr>
            <a:spLocks noGrp="1"/>
          </p:cNvSpPr>
          <p:nvPr>
            <p:ph type="title"/>
          </p:nvPr>
        </p:nvSpPr>
        <p:spPr>
          <a:xfrm>
            <a:off x="414000" y="201600"/>
            <a:ext cx="5305864" cy="712800"/>
          </a:xfrm>
        </p:spPr>
        <p:txBody>
          <a:bodyPr/>
          <a:lstStyle/>
          <a:p>
            <a:r>
              <a:rPr lang="es-PA" b="1" i="1" dirty="0"/>
              <a:t>El </a:t>
            </a:r>
            <a:r>
              <a:rPr lang="es-PA" b="1" i="1" dirty="0" err="1"/>
              <a:t>eComm</a:t>
            </a:r>
            <a:r>
              <a:rPr lang="es-PA" b="1" i="1" dirty="0"/>
              <a:t> Internacional</a:t>
            </a:r>
            <a:br>
              <a:rPr lang="es-PA" b="1" i="1" dirty="0"/>
            </a:br>
            <a:r>
              <a:rPr lang="es-PA" sz="1600" i="1" dirty="0"/>
              <a:t>La opción de mayor crecimiento para el sector </a:t>
            </a:r>
            <a:r>
              <a:rPr lang="es-PA" sz="1600" i="1" dirty="0" err="1" smtClean="0"/>
              <a:t>Retail</a:t>
            </a:r>
            <a:r>
              <a:rPr lang="es-PA" sz="1600" i="1" dirty="0" smtClean="0"/>
              <a:t> </a:t>
            </a:r>
            <a:endParaRPr lang="es-PA" sz="1600" i="1" dirty="0"/>
          </a:p>
        </p:txBody>
      </p:sp>
    </p:spTree>
    <p:extLst>
      <p:ext uri="{BB962C8B-B14F-4D97-AF65-F5344CB8AC3E}">
        <p14:creationId xmlns:p14="http://schemas.microsoft.com/office/powerpoint/2010/main" val="1282904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7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6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62850" y="6408121"/>
            <a:ext cx="5832143" cy="23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s-MX" sz="700" dirty="0" smtClean="0">
                <a:solidFill>
                  <a:srgbClr val="C00000"/>
                </a:solidFill>
              </a:rPr>
              <a:t>Fuente </a:t>
            </a:r>
            <a:r>
              <a:rPr lang="es-MX" sz="700" dirty="0" err="1" smtClean="0">
                <a:solidFill>
                  <a:srgbClr val="C00000"/>
                </a:solidFill>
              </a:rPr>
              <a:t>Multichannel</a:t>
            </a:r>
            <a:r>
              <a:rPr lang="es-MX" sz="700" dirty="0" smtClean="0">
                <a:solidFill>
                  <a:srgbClr val="C00000"/>
                </a:solidFill>
              </a:rPr>
              <a:t> Merchant</a:t>
            </a:r>
            <a:endParaRPr lang="es-PA" sz="700" dirty="0" smtClean="0">
              <a:solidFill>
                <a:srgbClr val="C00000"/>
              </a:solidFill>
            </a:endParaRPr>
          </a:p>
          <a:p>
            <a:pPr algn="r">
              <a:lnSpc>
                <a:spcPct val="110000"/>
              </a:lnSpc>
            </a:pPr>
            <a:r>
              <a:rPr lang="es-PA" sz="700" dirty="0">
                <a:solidFill>
                  <a:srgbClr val="C00000"/>
                </a:solidFill>
              </a:rPr>
              <a:t>http://multichannelmerchant.com/infographics/why-customers-prefer-online-shopping-06012015/</a:t>
            </a:r>
            <a:endParaRPr lang="es-PA" sz="700" dirty="0" smtClean="0">
              <a:solidFill>
                <a:srgbClr val="C00000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auto">
          <a:xfrm>
            <a:off x="244549" y="0"/>
            <a:ext cx="2307265" cy="30834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1446663" y="2156348"/>
            <a:ext cx="6318924" cy="3563288"/>
          </a:xfrm>
          <a:prstGeom prst="roundRect">
            <a:avLst>
              <a:gd name="adj" fmla="val 6667"/>
            </a:avLst>
          </a:prstGeom>
          <a:noFill/>
          <a:ln w="127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599068" y="2279076"/>
            <a:ext cx="3418754" cy="34532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3200" b="1" i="1" dirty="0" smtClean="0">
                <a:solidFill>
                  <a:srgbClr val="C00000"/>
                </a:solidFill>
              </a:rPr>
              <a:t>62% </a:t>
            </a:r>
            <a:r>
              <a:rPr lang="es-MX" sz="2800" dirty="0" smtClean="0"/>
              <a:t>de los consumidores tienen mayor intensión de compra cuando tienen la opción de </a:t>
            </a:r>
            <a:r>
              <a:rPr lang="es-MX" sz="3200" b="1" i="1" dirty="0" smtClean="0">
                <a:solidFill>
                  <a:srgbClr val="C00000"/>
                </a:solidFill>
              </a:rPr>
              <a:t>Devolución</a:t>
            </a:r>
            <a:r>
              <a:rPr lang="es-MX" sz="3200" dirty="0" smtClean="0"/>
              <a:t> </a:t>
            </a:r>
            <a:r>
              <a:rPr lang="es-MX" sz="2800" dirty="0" smtClean="0"/>
              <a:t>de la mercancía</a:t>
            </a:r>
            <a:endParaRPr lang="es-MX" sz="2800" dirty="0"/>
          </a:p>
        </p:txBody>
      </p:sp>
      <p:pic>
        <p:nvPicPr>
          <p:cNvPr id="114690" name="Picture 2" descr="C:\Users\santimar\Desktop\02_Return_Package.jpg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2100" b="98300" l="1200" r="99500">
                        <a14:foregroundMark x1="29300" y1="25900" x2="2300" y2="52300"/>
                        <a14:foregroundMark x1="13200" y1="37900" x2="35100" y2="2300"/>
                        <a14:foregroundMark x1="1700" y1="51700" x2="1200" y2="79900"/>
                        <a14:foregroundMark x1="2900" y1="79400" x2="36300" y2="96100"/>
                        <a14:foregroundMark x1="39100" y1="97800" x2="49500" y2="98400"/>
                        <a14:foregroundMark x1="40300" y1="96600" x2="52400" y2="97800"/>
                        <a14:foregroundMark x1="42000" y1="96100" x2="80000" y2="87400"/>
                        <a14:foregroundMark x1="80600" y1="86800" x2="99500" y2="75300"/>
                        <a14:backgroundMark x1="94400" y1="21800" x2="94400" y2="21800"/>
                        <a14:backgroundMark x1="97800" y1="92000" x2="38600" y2="978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3500" y="2610464"/>
            <a:ext cx="1655362" cy="1655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692" name="Picture 4" descr="C:\Users\santimar\Desktop\03_Return_Send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700" b="90000" l="100" r="99500">
                        <a14:foregroundMark x1="32200" y1="13100" x2="100" y2="32500"/>
                        <a14:foregroundMark x1="100" y1="31900" x2="1900" y2="70100"/>
                        <a14:foregroundMark x1="1900" y1="70100" x2="43800" y2="89400"/>
                        <a14:foregroundMark x1="45000" y1="87000" x2="99500" y2="67000"/>
                        <a14:foregroundMark x1="32900" y1="14300" x2="46800" y2="11900"/>
                        <a14:foregroundMark x1="46800" y1="12500" x2="97100" y2="39800"/>
                        <a14:foregroundMark x1="72200" y1="48200" x2="69200" y2="65200"/>
                        <a14:foregroundMark x1="71600" y1="48800" x2="37100" y2="37900"/>
                        <a14:foregroundMark x1="97100" y1="35500" x2="43200" y2="8800"/>
                        <a14:foregroundMark x1="95900" y1="34300" x2="98900" y2="34900"/>
                        <a14:foregroundMark x1="97100" y1="41600" x2="99500" y2="67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297" b="10923"/>
          <a:stretch/>
        </p:blipFill>
        <p:spPr bwMode="auto">
          <a:xfrm>
            <a:off x="6126596" y="4176116"/>
            <a:ext cx="1571627" cy="1175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val 1"/>
          <p:cNvSpPr/>
          <p:nvPr/>
        </p:nvSpPr>
        <p:spPr bwMode="auto">
          <a:xfrm>
            <a:off x="5992252" y="2719387"/>
            <a:ext cx="352425" cy="314325"/>
          </a:xfrm>
          <a:prstGeom prst="ellipse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1</a:t>
            </a: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3" name="Oval 12"/>
          <p:cNvSpPr/>
          <p:nvPr/>
        </p:nvSpPr>
        <p:spPr bwMode="auto">
          <a:xfrm>
            <a:off x="6912409" y="3975313"/>
            <a:ext cx="352425" cy="314325"/>
          </a:xfrm>
          <a:prstGeom prst="ellipse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2</a:t>
            </a: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359407" y="1269242"/>
            <a:ext cx="5965200" cy="545910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Datos sobre </a:t>
            </a:r>
            <a:r>
              <a:rPr kumimoji="0" lang="es-MX" sz="160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eComm</a:t>
            </a: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a nivel Global</a:t>
            </a:r>
            <a:endParaRPr kumimoji="0" lang="es-PA" sz="160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>
          <a:xfrm>
            <a:off x="414000" y="201600"/>
            <a:ext cx="5305864" cy="712800"/>
          </a:xfrm>
        </p:spPr>
        <p:txBody>
          <a:bodyPr/>
          <a:lstStyle/>
          <a:p>
            <a:r>
              <a:rPr lang="es-PA" b="1" i="1" dirty="0"/>
              <a:t>El </a:t>
            </a:r>
            <a:r>
              <a:rPr lang="es-PA" b="1" i="1" dirty="0" err="1"/>
              <a:t>eComm</a:t>
            </a:r>
            <a:r>
              <a:rPr lang="es-PA" b="1" i="1" dirty="0"/>
              <a:t> Internacional</a:t>
            </a:r>
            <a:br>
              <a:rPr lang="es-PA" b="1" i="1" dirty="0"/>
            </a:br>
            <a:r>
              <a:rPr lang="es-PA" sz="1600" i="1" dirty="0"/>
              <a:t>La opción de mayor crecimiento para el sector </a:t>
            </a:r>
            <a:r>
              <a:rPr lang="es-PA" sz="1600" i="1" dirty="0" err="1" smtClean="0"/>
              <a:t>Retail</a:t>
            </a:r>
            <a:r>
              <a:rPr lang="es-PA" sz="1600" i="1" dirty="0" smtClean="0"/>
              <a:t> </a:t>
            </a:r>
            <a:endParaRPr lang="es-PA" sz="1600" i="1" dirty="0"/>
          </a:p>
        </p:txBody>
      </p:sp>
    </p:spTree>
    <p:extLst>
      <p:ext uri="{BB962C8B-B14F-4D97-AF65-F5344CB8AC3E}">
        <p14:creationId xmlns:p14="http://schemas.microsoft.com/office/powerpoint/2010/main" val="3197891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6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6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  <p:bldP spid="2" grpId="0" animBg="1"/>
      <p:bldP spid="1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666" name="Picture 2" descr="C:\Users\santimar\Desktop\medium_7029099289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3452" y="2933699"/>
            <a:ext cx="2890710" cy="2181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0"/>
          <p:cNvSpPr/>
          <p:nvPr/>
        </p:nvSpPr>
        <p:spPr bwMode="auto">
          <a:xfrm>
            <a:off x="1446663" y="2156348"/>
            <a:ext cx="6318924" cy="3563288"/>
          </a:xfrm>
          <a:prstGeom prst="roundRect">
            <a:avLst>
              <a:gd name="adj" fmla="val 6667"/>
            </a:avLst>
          </a:prstGeom>
          <a:noFill/>
          <a:ln w="127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599068" y="2273752"/>
            <a:ext cx="3418754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MX" sz="2400" b="1" i="1" dirty="0" smtClean="0">
                <a:solidFill>
                  <a:srgbClr val="C00000"/>
                </a:solidFill>
              </a:rPr>
              <a:t>56% </a:t>
            </a:r>
            <a:r>
              <a:rPr lang="es-MX" sz="2400" dirty="0" smtClean="0"/>
              <a:t>de los consumidores han utilizado un </a:t>
            </a:r>
            <a:r>
              <a:rPr lang="es-MX" sz="2400" b="1" i="1" dirty="0" smtClean="0">
                <a:solidFill>
                  <a:srgbClr val="C00000"/>
                </a:solidFill>
              </a:rPr>
              <a:t>dispositivo móvil desde su casa </a:t>
            </a:r>
            <a:r>
              <a:rPr lang="es-MX" sz="2400" dirty="0" smtClean="0"/>
              <a:t>para buscar productos en la web. El </a:t>
            </a:r>
            <a:r>
              <a:rPr lang="es-MX" sz="2400" b="1" i="1" dirty="0" smtClean="0">
                <a:solidFill>
                  <a:srgbClr val="C00000"/>
                </a:solidFill>
              </a:rPr>
              <a:t>38%</a:t>
            </a:r>
            <a:r>
              <a:rPr lang="es-MX" sz="2400" dirty="0" smtClean="0">
                <a:solidFill>
                  <a:srgbClr val="C00000"/>
                </a:solidFill>
              </a:rPr>
              <a:t> </a:t>
            </a:r>
            <a:r>
              <a:rPr lang="es-MX" sz="2400" dirty="0" smtClean="0"/>
              <a:t>lo ha utilizado </a:t>
            </a:r>
            <a:r>
              <a:rPr lang="es-MX" sz="2400" b="1" i="1" dirty="0" smtClean="0">
                <a:solidFill>
                  <a:srgbClr val="C00000"/>
                </a:solidFill>
              </a:rPr>
              <a:t>camino a la tienda</a:t>
            </a:r>
            <a:r>
              <a:rPr lang="es-MX" sz="2400" dirty="0" smtClean="0"/>
              <a:t> y el </a:t>
            </a:r>
            <a:r>
              <a:rPr lang="es-MX" sz="2400" b="1" i="1" dirty="0" smtClean="0">
                <a:solidFill>
                  <a:srgbClr val="C00000"/>
                </a:solidFill>
              </a:rPr>
              <a:t>34%</a:t>
            </a:r>
            <a:r>
              <a:rPr lang="es-MX" sz="2400" dirty="0" smtClean="0"/>
              <a:t> lo ha hecho ya </a:t>
            </a:r>
            <a:r>
              <a:rPr lang="es-MX" sz="2400" b="1" i="1" dirty="0" smtClean="0">
                <a:solidFill>
                  <a:srgbClr val="C00000"/>
                </a:solidFill>
              </a:rPr>
              <a:t>en la tienda</a:t>
            </a:r>
            <a:endParaRPr lang="es-MX" sz="2400" b="1" i="1" dirty="0">
              <a:solidFill>
                <a:srgbClr val="C00000"/>
              </a:solidFill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244549" y="0"/>
            <a:ext cx="2307265" cy="30834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762850" y="6408121"/>
            <a:ext cx="5832143" cy="23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s-MX" sz="700" dirty="0" smtClean="0">
                <a:solidFill>
                  <a:srgbClr val="C00000"/>
                </a:solidFill>
              </a:rPr>
              <a:t>Fuente </a:t>
            </a:r>
            <a:r>
              <a:rPr lang="es-MX" sz="700" dirty="0" err="1" smtClean="0">
                <a:solidFill>
                  <a:srgbClr val="C00000"/>
                </a:solidFill>
              </a:rPr>
              <a:t>Multichannel</a:t>
            </a:r>
            <a:r>
              <a:rPr lang="es-MX" sz="700" dirty="0" smtClean="0">
                <a:solidFill>
                  <a:srgbClr val="C00000"/>
                </a:solidFill>
              </a:rPr>
              <a:t> Merchant</a:t>
            </a:r>
            <a:endParaRPr lang="es-PA" sz="700" dirty="0" smtClean="0">
              <a:solidFill>
                <a:srgbClr val="C00000"/>
              </a:solidFill>
            </a:endParaRPr>
          </a:p>
          <a:p>
            <a:pPr algn="r">
              <a:lnSpc>
                <a:spcPct val="110000"/>
              </a:lnSpc>
            </a:pPr>
            <a:r>
              <a:rPr lang="es-PA" sz="700" dirty="0">
                <a:solidFill>
                  <a:srgbClr val="C00000"/>
                </a:solidFill>
              </a:rPr>
              <a:t>http://multichannelmerchant.com/infographics/why-customers-prefer-online-shopping-06012015/</a:t>
            </a:r>
            <a:endParaRPr lang="es-PA" sz="700" dirty="0" smtClean="0">
              <a:solidFill>
                <a:srgbClr val="C00000"/>
              </a:solidFill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359407" y="1269242"/>
            <a:ext cx="5965200" cy="545910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Datos sobre </a:t>
            </a:r>
            <a:r>
              <a:rPr kumimoji="0" lang="es-MX" sz="160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eComm</a:t>
            </a: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a nivel Global</a:t>
            </a:r>
            <a:endParaRPr kumimoji="0" lang="es-PA" sz="160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4" name="Title 9"/>
          <p:cNvSpPr>
            <a:spLocks noGrp="1"/>
          </p:cNvSpPr>
          <p:nvPr>
            <p:ph type="title"/>
          </p:nvPr>
        </p:nvSpPr>
        <p:spPr>
          <a:xfrm>
            <a:off x="414000" y="201600"/>
            <a:ext cx="5305864" cy="712800"/>
          </a:xfrm>
        </p:spPr>
        <p:txBody>
          <a:bodyPr/>
          <a:lstStyle/>
          <a:p>
            <a:r>
              <a:rPr lang="es-PA" b="1" i="1" dirty="0"/>
              <a:t>El </a:t>
            </a:r>
            <a:r>
              <a:rPr lang="es-PA" b="1" i="1" dirty="0" err="1"/>
              <a:t>eComm</a:t>
            </a:r>
            <a:r>
              <a:rPr lang="es-PA" b="1" i="1" dirty="0"/>
              <a:t> Internacional</a:t>
            </a:r>
            <a:br>
              <a:rPr lang="es-PA" b="1" i="1" dirty="0"/>
            </a:br>
            <a:r>
              <a:rPr lang="es-PA" sz="1600" i="1" dirty="0"/>
              <a:t>La opción de mayor crecimiento para el sector </a:t>
            </a:r>
            <a:r>
              <a:rPr lang="es-PA" sz="1600" i="1" dirty="0" err="1" smtClean="0"/>
              <a:t>Retail</a:t>
            </a:r>
            <a:r>
              <a:rPr lang="es-PA" sz="1600" i="1" dirty="0" smtClean="0"/>
              <a:t> </a:t>
            </a:r>
            <a:endParaRPr lang="es-PA" sz="1600" i="1" dirty="0"/>
          </a:p>
        </p:txBody>
      </p:sp>
    </p:spTree>
    <p:extLst>
      <p:ext uri="{BB962C8B-B14F-4D97-AF65-F5344CB8AC3E}">
        <p14:creationId xmlns:p14="http://schemas.microsoft.com/office/powerpoint/2010/main" val="2174835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6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669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814" y="2119463"/>
            <a:ext cx="2010152" cy="18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366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00" y="2128340"/>
            <a:ext cx="2010152" cy="18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09225" y="2005257"/>
            <a:ext cx="1700550" cy="187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1200" dirty="0" smtClean="0"/>
              <a:t>Libros y Revistas</a:t>
            </a:r>
            <a:endParaRPr lang="es-PA" sz="1200" dirty="0" err="1" smtClean="0"/>
          </a:p>
        </p:txBody>
      </p:sp>
      <p:sp>
        <p:nvSpPr>
          <p:cNvPr id="8" name="Rectangle 7"/>
          <p:cNvSpPr/>
          <p:nvPr/>
        </p:nvSpPr>
        <p:spPr bwMode="auto">
          <a:xfrm>
            <a:off x="244549" y="0"/>
            <a:ext cx="2307265" cy="30834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762850" y="6408121"/>
            <a:ext cx="5832143" cy="23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s-MX" sz="700" dirty="0" smtClean="0">
                <a:solidFill>
                  <a:srgbClr val="C00000"/>
                </a:solidFill>
              </a:rPr>
              <a:t>Fuente </a:t>
            </a:r>
            <a:r>
              <a:rPr lang="es-MX" sz="700" dirty="0" err="1" smtClean="0">
                <a:solidFill>
                  <a:srgbClr val="C00000"/>
                </a:solidFill>
              </a:rPr>
              <a:t>Smallbiz</a:t>
            </a:r>
            <a:r>
              <a:rPr lang="es-MX" sz="700" dirty="0" smtClean="0">
                <a:solidFill>
                  <a:srgbClr val="C00000"/>
                </a:solidFill>
              </a:rPr>
              <a:t> Link</a:t>
            </a:r>
            <a:endParaRPr lang="es-PA" sz="700" dirty="0" smtClean="0">
              <a:solidFill>
                <a:srgbClr val="C00000"/>
              </a:solidFill>
            </a:endParaRPr>
          </a:p>
          <a:p>
            <a:pPr algn="r">
              <a:lnSpc>
                <a:spcPct val="110000"/>
              </a:lnSpc>
            </a:pPr>
            <a:r>
              <a:rPr lang="es-PA" sz="700" dirty="0">
                <a:solidFill>
                  <a:srgbClr val="C00000"/>
                </a:solidFill>
              </a:rPr>
              <a:t>http://smallbizlink.monster.com/benefits/articles/947-what-are-people-really-buying-online</a:t>
            </a:r>
            <a:endParaRPr lang="es-PA" sz="700" dirty="0" smtClean="0">
              <a:solidFill>
                <a:srgbClr val="C0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93025" y="1986602"/>
            <a:ext cx="1700550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1400" dirty="0" smtClean="0"/>
              <a:t>Prendas de Vestir</a:t>
            </a:r>
            <a:endParaRPr lang="es-PA" sz="1400" dirty="0" err="1" smtClean="0"/>
          </a:p>
        </p:txBody>
      </p:sp>
      <p:pic>
        <p:nvPicPr>
          <p:cNvPr id="11367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8375" y="2124075"/>
            <a:ext cx="2010152" cy="18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4912350" y="1986602"/>
            <a:ext cx="1700550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1400" dirty="0" smtClean="0"/>
              <a:t>Hardware &amp; Software</a:t>
            </a:r>
            <a:endParaRPr lang="es-PA" sz="1400" dirty="0" err="1" smtClean="0"/>
          </a:p>
        </p:txBody>
      </p:sp>
      <p:pic>
        <p:nvPicPr>
          <p:cNvPr id="113671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650" y="2124075"/>
            <a:ext cx="2010152" cy="18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7065000" y="1986602"/>
            <a:ext cx="1812300" cy="23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1400" dirty="0" smtClean="0"/>
              <a:t>Artículos Electrónicos</a:t>
            </a:r>
            <a:endParaRPr lang="es-PA" sz="1400" dirty="0" err="1" smtClean="0"/>
          </a:p>
        </p:txBody>
      </p:sp>
      <p:pic>
        <p:nvPicPr>
          <p:cNvPr id="113672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408" y="3985027"/>
            <a:ext cx="2010152" cy="18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528275" y="3862632"/>
            <a:ext cx="1700550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1400" dirty="0" smtClean="0"/>
              <a:t>Medicamentos</a:t>
            </a:r>
            <a:endParaRPr lang="es-PA" sz="1400" dirty="0" err="1" smtClean="0"/>
          </a:p>
        </p:txBody>
      </p:sp>
      <p:pic>
        <p:nvPicPr>
          <p:cNvPr id="113673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00" y="3981450"/>
            <a:ext cx="2010152" cy="18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2663027" y="3857625"/>
            <a:ext cx="1700550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1400" dirty="0" smtClean="0"/>
              <a:t>Muebles</a:t>
            </a:r>
            <a:endParaRPr lang="es-PA" sz="1400" dirty="0" err="1" smtClean="0"/>
          </a:p>
        </p:txBody>
      </p:sp>
      <p:pic>
        <p:nvPicPr>
          <p:cNvPr id="113674" name="Picture 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2175" y="3985026"/>
            <a:ext cx="2010152" cy="18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4909175" y="3857625"/>
            <a:ext cx="1700550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1400" dirty="0" smtClean="0"/>
              <a:t>Artículos Deportivos</a:t>
            </a:r>
            <a:endParaRPr lang="es-PA" sz="1400" dirty="0" err="1" smtClean="0"/>
          </a:p>
        </p:txBody>
      </p:sp>
      <p:pic>
        <p:nvPicPr>
          <p:cNvPr id="113675" name="Picture 1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650" y="3985025"/>
            <a:ext cx="2010152" cy="18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7160250" y="3861654"/>
            <a:ext cx="1700550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1400" dirty="0" smtClean="0"/>
              <a:t>Juguetes</a:t>
            </a:r>
            <a:endParaRPr lang="es-PA" sz="1400" dirty="0" err="1" smtClean="0"/>
          </a:p>
        </p:txBody>
      </p:sp>
      <p:sp>
        <p:nvSpPr>
          <p:cNvPr id="11" name="Rectangle 10"/>
          <p:cNvSpPr/>
          <p:nvPr/>
        </p:nvSpPr>
        <p:spPr bwMode="auto">
          <a:xfrm>
            <a:off x="39378" y="5479068"/>
            <a:ext cx="8821421" cy="29996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30" name="Picture 11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991"/>
          <a:stretch/>
        </p:blipFill>
        <p:spPr bwMode="auto">
          <a:xfrm>
            <a:off x="3290190" y="5695951"/>
            <a:ext cx="2672428" cy="335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Rectangle 30"/>
          <p:cNvSpPr/>
          <p:nvPr/>
        </p:nvSpPr>
        <p:spPr bwMode="auto">
          <a:xfrm>
            <a:off x="114791" y="3580063"/>
            <a:ext cx="8821421" cy="29996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5" name="Rounded Rectangle 24"/>
          <p:cNvSpPr/>
          <p:nvPr/>
        </p:nvSpPr>
        <p:spPr bwMode="auto">
          <a:xfrm>
            <a:off x="359407" y="1269242"/>
            <a:ext cx="5965200" cy="545910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Datos sobre </a:t>
            </a:r>
            <a:r>
              <a:rPr kumimoji="0" lang="es-MX" sz="160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eComm</a:t>
            </a: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a nivel Global</a:t>
            </a:r>
            <a:endParaRPr kumimoji="0" lang="es-PA" sz="160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27" name="Title 9"/>
          <p:cNvSpPr>
            <a:spLocks noGrp="1"/>
          </p:cNvSpPr>
          <p:nvPr>
            <p:ph type="title"/>
          </p:nvPr>
        </p:nvSpPr>
        <p:spPr>
          <a:xfrm>
            <a:off x="414000" y="201600"/>
            <a:ext cx="5305864" cy="712800"/>
          </a:xfrm>
        </p:spPr>
        <p:txBody>
          <a:bodyPr/>
          <a:lstStyle/>
          <a:p>
            <a:r>
              <a:rPr lang="es-PA" b="1" i="1" dirty="0"/>
              <a:t>El </a:t>
            </a:r>
            <a:r>
              <a:rPr lang="es-PA" b="1" i="1" dirty="0" err="1"/>
              <a:t>eComm</a:t>
            </a:r>
            <a:r>
              <a:rPr lang="es-PA" b="1" i="1" dirty="0"/>
              <a:t> Internacional</a:t>
            </a:r>
            <a:br>
              <a:rPr lang="es-PA" b="1" i="1" dirty="0"/>
            </a:br>
            <a:r>
              <a:rPr lang="es-PA" sz="1600" i="1" dirty="0"/>
              <a:t>La opción de mayor crecimiento para el sector </a:t>
            </a:r>
            <a:r>
              <a:rPr lang="es-PA" sz="1600" i="1" dirty="0" err="1" smtClean="0"/>
              <a:t>Retail</a:t>
            </a:r>
            <a:r>
              <a:rPr lang="es-PA" sz="1600" i="1" dirty="0" smtClean="0"/>
              <a:t> </a:t>
            </a:r>
            <a:endParaRPr lang="es-PA" sz="1600" i="1" dirty="0"/>
          </a:p>
        </p:txBody>
      </p:sp>
    </p:spTree>
    <p:extLst>
      <p:ext uri="{BB962C8B-B14F-4D97-AF65-F5344CB8AC3E}">
        <p14:creationId xmlns:p14="http://schemas.microsoft.com/office/powerpoint/2010/main" val="918484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3" grpId="0"/>
      <p:bldP spid="14" grpId="0"/>
      <p:bldP spid="15" grpId="0"/>
      <p:bldP spid="17" grpId="0"/>
      <p:bldP spid="19" grpId="0"/>
      <p:bldP spid="21" grpId="0"/>
      <p:bldP spid="2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/>
        </p:nvSpPr>
        <p:spPr bwMode="auto">
          <a:xfrm>
            <a:off x="359408" y="1269242"/>
            <a:ext cx="5965200" cy="545910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2000" dirty="0" smtClean="0">
                <a:solidFill>
                  <a:schemeClr val="bg1"/>
                </a:solidFill>
              </a:rPr>
              <a:t>Por qué la gente compra On-Line?</a:t>
            </a:r>
            <a:endParaRPr kumimoji="0" lang="es-PA" sz="200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762850" y="6408121"/>
            <a:ext cx="5832143" cy="2278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s-MX" sz="700" dirty="0" smtClean="0">
                <a:solidFill>
                  <a:srgbClr val="C00000"/>
                </a:solidFill>
              </a:rPr>
              <a:t>Fuente </a:t>
            </a:r>
            <a:r>
              <a:rPr lang="es-MX" sz="700" dirty="0" err="1" smtClean="0">
                <a:solidFill>
                  <a:srgbClr val="C00000"/>
                </a:solidFill>
              </a:rPr>
              <a:t>Upstream</a:t>
            </a:r>
            <a:r>
              <a:rPr lang="es-MX" sz="700" dirty="0" smtClean="0">
                <a:solidFill>
                  <a:srgbClr val="C00000"/>
                </a:solidFill>
              </a:rPr>
              <a:t> Commerce</a:t>
            </a:r>
            <a:endParaRPr lang="es-PA" sz="700" dirty="0" smtClean="0">
              <a:solidFill>
                <a:srgbClr val="C00000"/>
              </a:solidFill>
            </a:endParaRPr>
          </a:p>
          <a:p>
            <a:pPr algn="r">
              <a:lnSpc>
                <a:spcPct val="110000"/>
              </a:lnSpc>
            </a:pPr>
            <a:r>
              <a:rPr lang="es-PA" sz="700" dirty="0" smtClean="0">
                <a:solidFill>
                  <a:srgbClr val="C00000"/>
                </a:solidFill>
              </a:rPr>
              <a:t>http</a:t>
            </a:r>
            <a:r>
              <a:rPr lang="es-PA" sz="700" dirty="0">
                <a:solidFill>
                  <a:srgbClr val="C00000"/>
                </a:solidFill>
              </a:rPr>
              <a:t>://upstreamcommerce.com/blog/2012/02/14/8-reasons-consumer-likes-shop-online</a:t>
            </a:r>
            <a:endParaRPr lang="es-PA" sz="700" dirty="0" smtClean="0">
              <a:solidFill>
                <a:srgbClr val="C00000"/>
              </a:solidFill>
            </a:endParaRPr>
          </a:p>
        </p:txBody>
      </p:sp>
      <p:sp>
        <p:nvSpPr>
          <p:cNvPr id="4" name="Rounded Rectangle 3"/>
          <p:cNvSpPr/>
          <p:nvPr/>
        </p:nvSpPr>
        <p:spPr bwMode="auto">
          <a:xfrm>
            <a:off x="557263" y="1951626"/>
            <a:ext cx="2424757" cy="1059938"/>
          </a:xfrm>
          <a:prstGeom prst="roundRect">
            <a:avLst/>
          </a:prstGeom>
          <a:solidFill>
            <a:srgbClr val="FFCC00"/>
          </a:solidFill>
          <a:ln w="12700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Variedad</a:t>
            </a:r>
            <a:endParaRPr kumimoji="0" lang="es-PA" sz="20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3382386" y="1965276"/>
            <a:ext cx="2424757" cy="1059938"/>
          </a:xfrm>
          <a:prstGeom prst="roundRect">
            <a:avLst/>
          </a:prstGeom>
          <a:solidFill>
            <a:srgbClr val="FFCC00"/>
          </a:solidFill>
          <a:ln w="12700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Precios</a:t>
            </a:r>
            <a:endParaRPr kumimoji="0" lang="es-PA" sz="20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6207487" y="1951627"/>
            <a:ext cx="2424757" cy="1059938"/>
          </a:xfrm>
          <a:prstGeom prst="roundRect">
            <a:avLst/>
          </a:prstGeom>
          <a:solidFill>
            <a:srgbClr val="FFCC00"/>
          </a:solidFill>
          <a:ln w="12700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Conveniencia /</a:t>
            </a:r>
            <a:r>
              <a:rPr kumimoji="0" lang="es-MX" sz="2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Confianza</a:t>
            </a:r>
            <a:endParaRPr kumimoji="0" lang="es-PA" sz="20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559535" y="3250458"/>
            <a:ext cx="2424757" cy="1059938"/>
          </a:xfrm>
          <a:prstGeom prst="roundRect">
            <a:avLst/>
          </a:prstGeom>
          <a:solidFill>
            <a:srgbClr val="FFCC00"/>
          </a:solidFill>
          <a:ln w="12700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Discrecionalidad en</a:t>
            </a:r>
            <a:r>
              <a:rPr kumimoji="0" lang="es-MX" sz="2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la Compra</a:t>
            </a:r>
            <a:endParaRPr kumimoji="0" lang="es-PA" sz="20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3384658" y="3264108"/>
            <a:ext cx="2424757" cy="1059938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3600" b="1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eComm</a:t>
            </a:r>
            <a:endParaRPr kumimoji="0" lang="es-PA" sz="3600" b="1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6209759" y="3250459"/>
            <a:ext cx="2424757" cy="1059938"/>
          </a:xfrm>
          <a:prstGeom prst="roundRect">
            <a:avLst/>
          </a:prstGeom>
          <a:solidFill>
            <a:srgbClr val="FFCC00"/>
          </a:solidFill>
          <a:ln w="12700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Menos Costos adicionales</a:t>
            </a:r>
            <a:endParaRPr kumimoji="0" lang="es-PA" sz="20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561807" y="4562938"/>
            <a:ext cx="2424757" cy="1059938"/>
          </a:xfrm>
          <a:prstGeom prst="roundRect">
            <a:avLst/>
          </a:prstGeom>
          <a:solidFill>
            <a:srgbClr val="FFCC00"/>
          </a:solidFill>
          <a:ln w="12700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Compras Compulsivas</a:t>
            </a:r>
            <a:endParaRPr kumimoji="0" lang="es-PA" sz="20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3386930" y="4576588"/>
            <a:ext cx="2424757" cy="1059938"/>
          </a:xfrm>
          <a:prstGeom prst="roundRect">
            <a:avLst/>
          </a:prstGeom>
          <a:solidFill>
            <a:srgbClr val="FFCC00"/>
          </a:solidFill>
          <a:ln w="12700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2000" dirty="0" smtClean="0"/>
              <a:t>Multitudes</a:t>
            </a:r>
            <a:endParaRPr kumimoji="0" lang="es-PA" sz="20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6212031" y="4562939"/>
            <a:ext cx="2424757" cy="1059938"/>
          </a:xfrm>
          <a:prstGeom prst="roundRect">
            <a:avLst/>
          </a:prstGeom>
          <a:solidFill>
            <a:srgbClr val="FFCC00"/>
          </a:solidFill>
          <a:ln w="12700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2000" dirty="0" smtClean="0"/>
              <a:t>Comparación de Precios</a:t>
            </a:r>
            <a:endParaRPr kumimoji="0" lang="es-PA" sz="20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244549" y="0"/>
            <a:ext cx="2307265" cy="30834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9" name="Title 9"/>
          <p:cNvSpPr>
            <a:spLocks noGrp="1"/>
          </p:cNvSpPr>
          <p:nvPr>
            <p:ph type="title"/>
          </p:nvPr>
        </p:nvSpPr>
        <p:spPr>
          <a:xfrm>
            <a:off x="414000" y="201600"/>
            <a:ext cx="5305864" cy="712800"/>
          </a:xfrm>
        </p:spPr>
        <p:txBody>
          <a:bodyPr/>
          <a:lstStyle/>
          <a:p>
            <a:r>
              <a:rPr lang="es-PA" b="1" i="1" dirty="0"/>
              <a:t>El </a:t>
            </a:r>
            <a:r>
              <a:rPr lang="es-PA" b="1" i="1" dirty="0" err="1"/>
              <a:t>eComm</a:t>
            </a:r>
            <a:r>
              <a:rPr lang="es-PA" b="1" i="1" dirty="0"/>
              <a:t> Internacional</a:t>
            </a:r>
            <a:br>
              <a:rPr lang="es-PA" b="1" i="1" dirty="0"/>
            </a:br>
            <a:r>
              <a:rPr lang="es-PA" sz="1600" i="1" dirty="0"/>
              <a:t>La opción de mayor crecimiento para el sector </a:t>
            </a:r>
            <a:r>
              <a:rPr lang="es-PA" sz="1600" i="1" dirty="0" err="1" smtClean="0"/>
              <a:t>Retail</a:t>
            </a:r>
            <a:r>
              <a:rPr lang="es-PA" sz="1600" i="1" dirty="0" smtClean="0"/>
              <a:t> </a:t>
            </a:r>
            <a:endParaRPr lang="es-PA" sz="1600" i="1" dirty="0"/>
          </a:p>
        </p:txBody>
      </p:sp>
    </p:spTree>
    <p:extLst>
      <p:ext uri="{BB962C8B-B14F-4D97-AF65-F5344CB8AC3E}">
        <p14:creationId xmlns:p14="http://schemas.microsoft.com/office/powerpoint/2010/main" val="2223159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  <p:bldP spid="9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76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4" t="21931" r="70785" b="49065"/>
          <a:stretch/>
        </p:blipFill>
        <p:spPr bwMode="auto">
          <a:xfrm>
            <a:off x="2609000" y="1883392"/>
            <a:ext cx="3969217" cy="1705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4" t="50033" r="70785" b="30047"/>
          <a:stretch/>
        </p:blipFill>
        <p:spPr bwMode="auto">
          <a:xfrm>
            <a:off x="2608999" y="3535586"/>
            <a:ext cx="3969217" cy="1171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4" t="69953" r="70785" b="10127"/>
          <a:stretch/>
        </p:blipFill>
        <p:spPr bwMode="auto">
          <a:xfrm>
            <a:off x="2608532" y="4700388"/>
            <a:ext cx="3969217" cy="1171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1"/>
          <p:cNvSpPr/>
          <p:nvPr/>
        </p:nvSpPr>
        <p:spPr bwMode="auto">
          <a:xfrm>
            <a:off x="244549" y="0"/>
            <a:ext cx="2307265" cy="30834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3" name="Rounded Rectangle 22"/>
          <p:cNvSpPr/>
          <p:nvPr/>
        </p:nvSpPr>
        <p:spPr bwMode="auto">
          <a:xfrm>
            <a:off x="359408" y="1269242"/>
            <a:ext cx="5965200" cy="545910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2000" dirty="0" smtClean="0">
                <a:solidFill>
                  <a:schemeClr val="bg1"/>
                </a:solidFill>
              </a:rPr>
              <a:t>Por qué la gente compra On-Line?</a:t>
            </a:r>
            <a:endParaRPr kumimoji="0" lang="es-PA" sz="200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1" name="Title 9"/>
          <p:cNvSpPr>
            <a:spLocks noGrp="1"/>
          </p:cNvSpPr>
          <p:nvPr>
            <p:ph type="title"/>
          </p:nvPr>
        </p:nvSpPr>
        <p:spPr>
          <a:xfrm>
            <a:off x="414000" y="201600"/>
            <a:ext cx="5305864" cy="712800"/>
          </a:xfrm>
        </p:spPr>
        <p:txBody>
          <a:bodyPr/>
          <a:lstStyle/>
          <a:p>
            <a:r>
              <a:rPr lang="es-PA" b="1" i="1" dirty="0"/>
              <a:t>El </a:t>
            </a:r>
            <a:r>
              <a:rPr lang="es-PA" b="1" i="1" dirty="0" err="1"/>
              <a:t>eComm</a:t>
            </a:r>
            <a:r>
              <a:rPr lang="es-PA" b="1" i="1" dirty="0"/>
              <a:t> Internacional</a:t>
            </a:r>
            <a:br>
              <a:rPr lang="es-PA" b="1" i="1" dirty="0"/>
            </a:br>
            <a:r>
              <a:rPr lang="es-PA" sz="1600" i="1" dirty="0"/>
              <a:t>La opción de mayor crecimiento para el sector </a:t>
            </a:r>
            <a:r>
              <a:rPr lang="es-PA" sz="1600" i="1" dirty="0" err="1" smtClean="0"/>
              <a:t>Retail</a:t>
            </a:r>
            <a:r>
              <a:rPr lang="es-PA" sz="1600" i="1" dirty="0" smtClean="0"/>
              <a:t> </a:t>
            </a:r>
            <a:endParaRPr lang="es-PA" sz="1600" i="1" dirty="0"/>
          </a:p>
        </p:txBody>
      </p:sp>
    </p:spTree>
    <p:extLst>
      <p:ext uri="{BB962C8B-B14F-4D97-AF65-F5344CB8AC3E}">
        <p14:creationId xmlns:p14="http://schemas.microsoft.com/office/powerpoint/2010/main" val="2564029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7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62850" y="6408121"/>
            <a:ext cx="5832143" cy="2278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s-MX" sz="700" dirty="0" smtClean="0">
                <a:solidFill>
                  <a:srgbClr val="C00000"/>
                </a:solidFill>
              </a:rPr>
              <a:t>Fuente </a:t>
            </a:r>
            <a:r>
              <a:rPr lang="es-MX" sz="700" dirty="0" err="1" smtClean="0">
                <a:solidFill>
                  <a:srgbClr val="C00000"/>
                </a:solidFill>
              </a:rPr>
              <a:t>Upstream</a:t>
            </a:r>
            <a:r>
              <a:rPr lang="es-MX" sz="700" dirty="0" smtClean="0">
                <a:solidFill>
                  <a:srgbClr val="C00000"/>
                </a:solidFill>
              </a:rPr>
              <a:t> Commerce</a:t>
            </a:r>
            <a:endParaRPr lang="es-PA" sz="700" dirty="0" smtClean="0">
              <a:solidFill>
                <a:srgbClr val="C00000"/>
              </a:solidFill>
            </a:endParaRPr>
          </a:p>
          <a:p>
            <a:pPr algn="r">
              <a:lnSpc>
                <a:spcPct val="110000"/>
              </a:lnSpc>
            </a:pPr>
            <a:r>
              <a:rPr lang="es-PA" sz="700" dirty="0" smtClean="0">
                <a:solidFill>
                  <a:srgbClr val="C00000"/>
                </a:solidFill>
              </a:rPr>
              <a:t>http</a:t>
            </a:r>
            <a:r>
              <a:rPr lang="es-PA" sz="700" dirty="0">
                <a:solidFill>
                  <a:srgbClr val="C00000"/>
                </a:solidFill>
              </a:rPr>
              <a:t>://upstreamcommerce.com/blog/2012/02/14/8-reasons-consumer-likes-shop-online</a:t>
            </a:r>
            <a:endParaRPr lang="es-PA" sz="700" dirty="0" smtClean="0">
              <a:solidFill>
                <a:srgbClr val="C00000"/>
              </a:solidFill>
            </a:endParaRPr>
          </a:p>
        </p:txBody>
      </p:sp>
      <p:sp>
        <p:nvSpPr>
          <p:cNvPr id="4" name="Rounded Rectangle 3"/>
          <p:cNvSpPr/>
          <p:nvPr/>
        </p:nvSpPr>
        <p:spPr bwMode="auto">
          <a:xfrm>
            <a:off x="528688" y="1951626"/>
            <a:ext cx="2424757" cy="1059938"/>
          </a:xfrm>
          <a:prstGeom prst="roundRect">
            <a:avLst/>
          </a:prstGeom>
          <a:solidFill>
            <a:srgbClr val="FFCC00"/>
          </a:solidFill>
          <a:ln w="12700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Variedad</a:t>
            </a:r>
            <a:endParaRPr kumimoji="0" lang="es-PA" sz="20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3353811" y="1965276"/>
            <a:ext cx="2424757" cy="1059938"/>
          </a:xfrm>
          <a:prstGeom prst="roundRect">
            <a:avLst/>
          </a:prstGeom>
          <a:solidFill>
            <a:srgbClr val="FFCC00"/>
          </a:solidFill>
          <a:ln w="12700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Precios</a:t>
            </a:r>
            <a:endParaRPr kumimoji="0" lang="es-PA" sz="20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6178912" y="1951627"/>
            <a:ext cx="2424757" cy="1059938"/>
          </a:xfrm>
          <a:prstGeom prst="roundRect">
            <a:avLst/>
          </a:prstGeom>
          <a:solidFill>
            <a:srgbClr val="FFCC00"/>
          </a:solidFill>
          <a:ln w="12700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Conveniencia /Confianza</a:t>
            </a:r>
            <a:endParaRPr kumimoji="0" lang="es-PA" sz="20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530960" y="3250458"/>
            <a:ext cx="2424757" cy="10599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Discrecionalidad en</a:t>
            </a:r>
            <a:r>
              <a:rPr kumimoji="0" lang="es-MX" sz="20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la Compra</a:t>
            </a:r>
            <a:endParaRPr kumimoji="0" lang="es-PA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3356083" y="3264108"/>
            <a:ext cx="2424757" cy="1059938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3600" b="1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eComm</a:t>
            </a:r>
            <a:endParaRPr kumimoji="0" lang="es-PA" sz="3600" b="1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6181184" y="3250459"/>
            <a:ext cx="2424757" cy="10599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2000" dirty="0">
                <a:solidFill>
                  <a:schemeClr val="bg1"/>
                </a:solidFill>
              </a:rPr>
              <a:t>Menos Costos adicionales</a:t>
            </a:r>
            <a:endParaRPr lang="es-PA" sz="2000" dirty="0" err="1">
              <a:solidFill>
                <a:schemeClr val="bg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533232" y="4562938"/>
            <a:ext cx="2424757" cy="10599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2000" dirty="0">
                <a:solidFill>
                  <a:schemeClr val="bg1"/>
                </a:solidFill>
              </a:rPr>
              <a:t>Compras Compulsivas</a:t>
            </a:r>
            <a:endParaRPr lang="es-PA" sz="2000" dirty="0" err="1">
              <a:solidFill>
                <a:schemeClr val="bg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3358355" y="4576588"/>
            <a:ext cx="2424757" cy="10599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2000" dirty="0">
                <a:solidFill>
                  <a:schemeClr val="bg1"/>
                </a:solidFill>
              </a:rPr>
              <a:t>Multitudes</a:t>
            </a:r>
            <a:endParaRPr lang="es-PA" sz="2000" dirty="0" err="1">
              <a:solidFill>
                <a:schemeClr val="bg1"/>
              </a:solidFill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6183456" y="4562939"/>
            <a:ext cx="2424757" cy="10599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2000" dirty="0">
                <a:solidFill>
                  <a:schemeClr val="bg1"/>
                </a:solidFill>
              </a:rPr>
              <a:t>Comparación de Precios</a:t>
            </a:r>
            <a:endParaRPr lang="es-PA" sz="2000" dirty="0" err="1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244549" y="0"/>
            <a:ext cx="2307265" cy="30834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9" name="Rounded Rectangle 18"/>
          <p:cNvSpPr/>
          <p:nvPr/>
        </p:nvSpPr>
        <p:spPr bwMode="auto">
          <a:xfrm>
            <a:off x="359408" y="1269242"/>
            <a:ext cx="5965200" cy="545910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2000" dirty="0" smtClean="0">
                <a:solidFill>
                  <a:schemeClr val="bg1"/>
                </a:solidFill>
              </a:rPr>
              <a:t>Razones más importantes para comprar On-Line</a:t>
            </a:r>
            <a:endParaRPr kumimoji="0" lang="es-PA" sz="200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20" name="Title 9"/>
          <p:cNvSpPr>
            <a:spLocks noGrp="1"/>
          </p:cNvSpPr>
          <p:nvPr>
            <p:ph type="title"/>
          </p:nvPr>
        </p:nvSpPr>
        <p:spPr>
          <a:xfrm>
            <a:off x="414000" y="201600"/>
            <a:ext cx="5305864" cy="712800"/>
          </a:xfrm>
        </p:spPr>
        <p:txBody>
          <a:bodyPr/>
          <a:lstStyle/>
          <a:p>
            <a:r>
              <a:rPr lang="es-PA" b="1" i="1" dirty="0"/>
              <a:t>El </a:t>
            </a:r>
            <a:r>
              <a:rPr lang="es-PA" b="1" i="1" dirty="0" err="1"/>
              <a:t>eComm</a:t>
            </a:r>
            <a:r>
              <a:rPr lang="es-PA" b="1" i="1" dirty="0"/>
              <a:t> Internacional</a:t>
            </a:r>
            <a:br>
              <a:rPr lang="es-PA" b="1" i="1" dirty="0"/>
            </a:br>
            <a:r>
              <a:rPr lang="es-PA" sz="1600" i="1" dirty="0"/>
              <a:t>La opción de mayor crecimiento para el sector </a:t>
            </a:r>
            <a:r>
              <a:rPr lang="es-PA" sz="1600" i="1" dirty="0" err="1" smtClean="0"/>
              <a:t>Retail</a:t>
            </a:r>
            <a:r>
              <a:rPr lang="es-PA" sz="1600" i="1" dirty="0" smtClean="0"/>
              <a:t> </a:t>
            </a:r>
            <a:endParaRPr lang="es-PA" sz="1600" i="1" dirty="0"/>
          </a:p>
        </p:txBody>
      </p:sp>
    </p:spTree>
    <p:extLst>
      <p:ext uri="{BB962C8B-B14F-4D97-AF65-F5344CB8AC3E}">
        <p14:creationId xmlns:p14="http://schemas.microsoft.com/office/powerpoint/2010/main" val="368893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  <p:bldP spid="9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 bwMode="auto">
          <a:xfrm>
            <a:off x="6359887" y="2656474"/>
            <a:ext cx="2424757" cy="3134725"/>
          </a:xfrm>
          <a:prstGeom prst="roundRect">
            <a:avLst>
              <a:gd name="adj" fmla="val 5383"/>
            </a:avLst>
          </a:prstGeom>
          <a:noFill/>
          <a:ln w="127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180975" indent="-180975" defTabSz="995363" eaLnBrk="0" fontAlgn="base" hangingPunct="0">
              <a:lnSpc>
                <a:spcPts val="2000"/>
              </a:lnSpc>
              <a:spcBef>
                <a:spcPct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s-MX" sz="1400" dirty="0" smtClean="0"/>
              <a:t>Alto nivel de Calidad </a:t>
            </a:r>
            <a:r>
              <a:rPr lang="es-MX" sz="1400" dirty="0"/>
              <a:t>de los </a:t>
            </a:r>
            <a:r>
              <a:rPr lang="es-MX" sz="1400" dirty="0" smtClean="0"/>
              <a:t>productos</a:t>
            </a:r>
            <a:endParaRPr lang="es-PA" sz="1400" dirty="0"/>
          </a:p>
          <a:p>
            <a:pPr marL="180975" marR="0" indent="-180975" defTabSz="995363" rtl="0" eaLnBrk="0" fontAlgn="base" latinLnBrk="0" hangingPunct="0">
              <a:lnSpc>
                <a:spcPts val="2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MX" sz="1400" dirty="0" smtClean="0"/>
              <a:t>Oferta de productos </a:t>
            </a:r>
            <a:r>
              <a:rPr lang="es-MX" sz="1400" b="1" i="1" dirty="0" smtClean="0"/>
              <a:t>Todo Incluido* </a:t>
            </a:r>
            <a:r>
              <a:rPr lang="es-MX" sz="1400" dirty="0" smtClean="0"/>
              <a:t>brinda mayor facilidad,  seguridad y transparencia</a:t>
            </a:r>
          </a:p>
          <a:p>
            <a:pPr marL="180975" marR="0" indent="-180975" defTabSz="995363" rtl="0" eaLnBrk="0" fontAlgn="base" latinLnBrk="0" hangingPunct="0">
              <a:lnSpc>
                <a:spcPts val="2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MX" sz="1400" dirty="0" smtClean="0"/>
              <a:t>Solución eficiente para devolución de mercancía (Costo, Seguridad, Velocidad)</a:t>
            </a:r>
            <a:endParaRPr lang="es-MX" sz="1600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3124058" y="5865196"/>
            <a:ext cx="58321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s-MX" sz="1000" dirty="0" smtClean="0"/>
              <a:t>*Todo Incluido: Costo de Producto + Aduana + Impuestos + </a:t>
            </a:r>
            <a:r>
              <a:rPr lang="es-MX" sz="1000" dirty="0"/>
              <a:t>E</a:t>
            </a:r>
            <a:r>
              <a:rPr lang="es-MX" sz="1000" dirty="0" smtClean="0"/>
              <a:t>ntrega</a:t>
            </a:r>
            <a:endParaRPr lang="es-PA" sz="1000" dirty="0" smtClean="0"/>
          </a:p>
        </p:txBody>
      </p:sp>
      <p:sp>
        <p:nvSpPr>
          <p:cNvPr id="4" name="Rounded Rectangle 3"/>
          <p:cNvSpPr/>
          <p:nvPr/>
        </p:nvSpPr>
        <p:spPr bwMode="auto">
          <a:xfrm>
            <a:off x="709663" y="1951626"/>
            <a:ext cx="2424757" cy="644574"/>
          </a:xfrm>
          <a:prstGeom prst="roundRect">
            <a:avLst/>
          </a:prstGeom>
          <a:solidFill>
            <a:srgbClr val="FFCC00"/>
          </a:solidFill>
          <a:ln w="12700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Variedad</a:t>
            </a:r>
            <a:endParaRPr kumimoji="0" lang="es-PA" sz="20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3534786" y="1965276"/>
            <a:ext cx="2424757" cy="644574"/>
          </a:xfrm>
          <a:prstGeom prst="roundRect">
            <a:avLst/>
          </a:prstGeom>
          <a:solidFill>
            <a:srgbClr val="FFCC00"/>
          </a:solidFill>
          <a:ln w="12700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Precios</a:t>
            </a:r>
            <a:endParaRPr kumimoji="0" lang="es-PA" sz="20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6359887" y="1951627"/>
            <a:ext cx="2424757" cy="644574"/>
          </a:xfrm>
          <a:prstGeom prst="roundRect">
            <a:avLst/>
          </a:prstGeom>
          <a:solidFill>
            <a:srgbClr val="FFCC00"/>
          </a:solidFill>
          <a:ln w="12700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Conveniencia / Confianza</a:t>
            </a:r>
            <a:endParaRPr kumimoji="0" lang="es-PA" sz="20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244549" y="0"/>
            <a:ext cx="2307265" cy="30834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709663" y="2656476"/>
            <a:ext cx="2424757" cy="3134724"/>
          </a:xfrm>
          <a:prstGeom prst="roundRect">
            <a:avLst>
              <a:gd name="adj" fmla="val 5383"/>
            </a:avLst>
          </a:prstGeom>
          <a:noFill/>
          <a:ln w="127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180975" indent="-180975" defTabSz="995363" eaLnBrk="0" fontAlgn="base" hangingPunct="0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400" dirty="0"/>
              <a:t>Presencia de las mejores marcas internacionales</a:t>
            </a:r>
          </a:p>
          <a:p>
            <a:pPr marL="180975" marR="0" indent="-180975" defTabSz="995363" rtl="0" eaLnBrk="0" fontAlgn="base" latinLnBrk="0" hangingPunct="0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s-MX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Inventarios alineados </a:t>
            </a:r>
            <a:r>
              <a:rPr kumimoji="0" lang="es-MX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con el perfil de producto adquirido vía </a:t>
            </a:r>
            <a:r>
              <a:rPr kumimoji="0" lang="es-MX" sz="14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</a:rPr>
              <a:t>eComm</a:t>
            </a:r>
            <a:r>
              <a:rPr kumimoji="0" lang="es-MX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(Ropa, Calzado, Artículos deportivos, </a:t>
            </a:r>
            <a:r>
              <a:rPr kumimoji="0" lang="es-MX" sz="14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</a:rPr>
              <a:t>etc</a:t>
            </a:r>
            <a:r>
              <a:rPr kumimoji="0" lang="es-MX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)</a:t>
            </a:r>
          </a:p>
          <a:p>
            <a:pPr marL="180975" marR="0" indent="-180975" defTabSz="995363" rtl="0" eaLnBrk="0" fontAlgn="base" latinLnBrk="0" hangingPunct="0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MX" sz="1400" baseline="0" dirty="0" smtClean="0"/>
              <a:t>Volumen </a:t>
            </a:r>
            <a:r>
              <a:rPr lang="es-MX" sz="1400" dirty="0" smtClean="0"/>
              <a:t>suficiente para cubrir demanda de países de la región</a:t>
            </a:r>
            <a:endParaRPr kumimoji="0" lang="es-PA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3539173" y="2656476"/>
            <a:ext cx="2424757" cy="3134724"/>
          </a:xfrm>
          <a:prstGeom prst="roundRect">
            <a:avLst>
              <a:gd name="adj" fmla="val 5383"/>
            </a:avLst>
          </a:prstGeom>
          <a:noFill/>
          <a:ln w="127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180975" marR="0" indent="-180975" defTabSz="995363" rtl="0" eaLnBrk="0" fontAlgn="base" latinLnBrk="0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MX" sz="1400" dirty="0" smtClean="0"/>
              <a:t>Escala de negocio de PA ofrece mayor poder de negociación y mejores precios de compra y venta</a:t>
            </a:r>
            <a:endParaRPr lang="es-MX" sz="1400" dirty="0"/>
          </a:p>
          <a:p>
            <a:pPr marL="180975" marR="0" indent="-180975" defTabSz="995363" rtl="0" eaLnBrk="0" fontAlgn="base" latinLnBrk="0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s-MX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Infraestructura</a:t>
            </a:r>
            <a:r>
              <a:rPr kumimoji="0" lang="es-MX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Logística con capacidad de atender demanda creciente (Almacenamiento, Tiempos de entrega</a:t>
            </a:r>
            <a:r>
              <a:rPr kumimoji="0" lang="es-MX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)</a:t>
            </a:r>
            <a:endParaRPr kumimoji="0" lang="es-PA" sz="20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359408" y="1269242"/>
            <a:ext cx="5965200" cy="545910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2000" dirty="0" smtClean="0">
                <a:solidFill>
                  <a:schemeClr val="bg1"/>
                </a:solidFill>
              </a:rPr>
              <a:t>Propuesta de Valor de Panamá para el </a:t>
            </a:r>
            <a:r>
              <a:rPr lang="es-MX" sz="2000" dirty="0" err="1" smtClean="0">
                <a:solidFill>
                  <a:schemeClr val="bg1"/>
                </a:solidFill>
              </a:rPr>
              <a:t>eComm</a:t>
            </a:r>
            <a:endParaRPr kumimoji="0" lang="es-PA" sz="200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6" name="Title 9"/>
          <p:cNvSpPr>
            <a:spLocks noGrp="1"/>
          </p:cNvSpPr>
          <p:nvPr>
            <p:ph type="title"/>
          </p:nvPr>
        </p:nvSpPr>
        <p:spPr>
          <a:xfrm>
            <a:off x="414000" y="201600"/>
            <a:ext cx="5305864" cy="712800"/>
          </a:xfrm>
        </p:spPr>
        <p:txBody>
          <a:bodyPr/>
          <a:lstStyle/>
          <a:p>
            <a:r>
              <a:rPr lang="es-PA" b="1" i="1" dirty="0"/>
              <a:t>El </a:t>
            </a:r>
            <a:r>
              <a:rPr lang="es-PA" b="1" i="1" dirty="0" err="1"/>
              <a:t>eComm</a:t>
            </a:r>
            <a:r>
              <a:rPr lang="es-PA" b="1" i="1" dirty="0"/>
              <a:t> Internacional</a:t>
            </a:r>
            <a:br>
              <a:rPr lang="es-PA" b="1" i="1" dirty="0"/>
            </a:br>
            <a:r>
              <a:rPr lang="es-PA" sz="1600" i="1" dirty="0"/>
              <a:t>La opción de mayor crecimiento para el sector </a:t>
            </a:r>
            <a:r>
              <a:rPr lang="es-PA" sz="1600" i="1" dirty="0" err="1" smtClean="0"/>
              <a:t>Retail</a:t>
            </a:r>
            <a:r>
              <a:rPr lang="es-PA" sz="1600" i="1" dirty="0" smtClean="0"/>
              <a:t> </a:t>
            </a:r>
            <a:endParaRPr lang="es-PA" sz="1600" i="1" dirty="0"/>
          </a:p>
        </p:txBody>
      </p:sp>
    </p:spTree>
    <p:extLst>
      <p:ext uri="{BB962C8B-B14F-4D97-AF65-F5344CB8AC3E}">
        <p14:creationId xmlns:p14="http://schemas.microsoft.com/office/powerpoint/2010/main" val="2375631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1" grpId="0" animBg="1"/>
      <p:bldP spid="1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244549" y="0"/>
            <a:ext cx="2307265" cy="30834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347825" y="3480887"/>
            <a:ext cx="4319925" cy="2391776"/>
          </a:xfrm>
          <a:prstGeom prst="roundRect">
            <a:avLst>
              <a:gd name="adj" fmla="val 5383"/>
            </a:avLst>
          </a:prstGeom>
          <a:noFill/>
          <a:ln w="127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180975" marR="0" indent="-180975" defTabSz="995363" rtl="0" eaLnBrk="0" fontAlgn="base" latinLnBrk="0" hangingPunct="0">
              <a:lnSpc>
                <a:spcPts val="19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s-MX" sz="1600" baseline="0" dirty="0" smtClean="0"/>
              <a:t>Dar mayor fluidez al proceso</a:t>
            </a:r>
            <a:r>
              <a:rPr lang="es-MX" sz="1600" dirty="0" smtClean="0"/>
              <a:t> de ingreso </a:t>
            </a:r>
            <a:r>
              <a:rPr lang="es-MX" sz="1600" baseline="0" dirty="0" smtClean="0"/>
              <a:t>de </a:t>
            </a:r>
            <a:r>
              <a:rPr lang="es-MX" sz="1600" dirty="0" smtClean="0"/>
              <a:t>los retornos al país incluyendo ZLC (Reducir tiempo y costo)</a:t>
            </a:r>
          </a:p>
          <a:p>
            <a:pPr marL="180975" indent="-180975" defTabSz="995363" eaLnBrk="0" fontAlgn="base" hangingPunct="0">
              <a:lnSpc>
                <a:spcPts val="19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600" dirty="0" smtClean="0"/>
              <a:t>Actualizar </a:t>
            </a:r>
            <a:r>
              <a:rPr lang="es-MX" sz="1600" dirty="0"/>
              <a:t>la Normativa de aduanas para </a:t>
            </a:r>
            <a:r>
              <a:rPr lang="es-MX" sz="1600" dirty="0" err="1"/>
              <a:t>eComm</a:t>
            </a:r>
            <a:endParaRPr lang="es-MX" sz="1600" dirty="0"/>
          </a:p>
          <a:p>
            <a:pPr marL="180975" indent="-180975" defTabSz="995363" eaLnBrk="0" fontAlgn="base" hangingPunct="0">
              <a:lnSpc>
                <a:spcPts val="19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MX" sz="1600" baseline="0" dirty="0" smtClean="0"/>
              <a:t>Posicionar al Correo Postal como una alternativa eficiente para el manejo de retorno</a:t>
            </a:r>
            <a:r>
              <a:rPr lang="es-MX" sz="1600" dirty="0" smtClean="0"/>
              <a:t> de material (Mejorar Servicio, visibilidad y tiempos de entrega)</a:t>
            </a: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408" y="1970673"/>
            <a:ext cx="3734919" cy="21960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Bent Arrow 1"/>
          <p:cNvSpPr/>
          <p:nvPr/>
        </p:nvSpPr>
        <p:spPr bwMode="auto">
          <a:xfrm rot="5400000">
            <a:off x="5093032" y="1830221"/>
            <a:ext cx="651961" cy="2649374"/>
          </a:xfrm>
          <a:prstGeom prst="bentArrow">
            <a:avLst>
              <a:gd name="adj1" fmla="val 22018"/>
              <a:gd name="adj2" fmla="val 36237"/>
              <a:gd name="adj3" fmla="val 25000"/>
              <a:gd name="adj4" fmla="val 42626"/>
            </a:avLst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359408" y="1269242"/>
            <a:ext cx="5965200" cy="545910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2000" dirty="0">
                <a:solidFill>
                  <a:schemeClr val="bg1"/>
                </a:solidFill>
              </a:rPr>
              <a:t>Cómo mejorar </a:t>
            </a:r>
            <a:r>
              <a:rPr lang="es-MX" sz="2000" dirty="0" smtClean="0">
                <a:solidFill>
                  <a:schemeClr val="bg1"/>
                </a:solidFill>
              </a:rPr>
              <a:t>la Propuesta de Valor de Panamá para el </a:t>
            </a:r>
            <a:r>
              <a:rPr lang="es-MX" sz="2000" dirty="0" err="1" smtClean="0">
                <a:solidFill>
                  <a:schemeClr val="bg1"/>
                </a:solidFill>
              </a:rPr>
              <a:t>eComm</a:t>
            </a:r>
            <a:endParaRPr lang="es-PA" sz="2000" dirty="0" err="1">
              <a:solidFill>
                <a:schemeClr val="bg1"/>
              </a:solidFill>
            </a:endParaRPr>
          </a:p>
        </p:txBody>
      </p:sp>
      <p:sp>
        <p:nvSpPr>
          <p:cNvPr id="17" name="Title 9"/>
          <p:cNvSpPr>
            <a:spLocks noGrp="1"/>
          </p:cNvSpPr>
          <p:nvPr>
            <p:ph type="title"/>
          </p:nvPr>
        </p:nvSpPr>
        <p:spPr>
          <a:xfrm>
            <a:off x="414000" y="201600"/>
            <a:ext cx="5305864" cy="712800"/>
          </a:xfrm>
        </p:spPr>
        <p:txBody>
          <a:bodyPr/>
          <a:lstStyle/>
          <a:p>
            <a:r>
              <a:rPr lang="es-PA" b="1" i="1" dirty="0"/>
              <a:t>El </a:t>
            </a:r>
            <a:r>
              <a:rPr lang="es-PA" b="1" i="1" dirty="0" err="1"/>
              <a:t>eComm</a:t>
            </a:r>
            <a:r>
              <a:rPr lang="es-PA" b="1" i="1" dirty="0"/>
              <a:t> Internacional</a:t>
            </a:r>
            <a:br>
              <a:rPr lang="es-PA" b="1" i="1" dirty="0"/>
            </a:br>
            <a:r>
              <a:rPr lang="es-PA" sz="1600" i="1" dirty="0"/>
              <a:t>La opción de mayor crecimiento para el sector </a:t>
            </a:r>
            <a:r>
              <a:rPr lang="es-PA" sz="1600" i="1" dirty="0" err="1" smtClean="0"/>
              <a:t>Retail</a:t>
            </a:r>
            <a:r>
              <a:rPr lang="es-PA" sz="1600" i="1" dirty="0" smtClean="0"/>
              <a:t> </a:t>
            </a:r>
            <a:endParaRPr lang="es-PA" sz="1600" i="1" dirty="0"/>
          </a:p>
        </p:txBody>
      </p:sp>
    </p:spTree>
    <p:extLst>
      <p:ext uri="{BB962C8B-B14F-4D97-AF65-F5344CB8AC3E}">
        <p14:creationId xmlns:p14="http://schemas.microsoft.com/office/powerpoint/2010/main" val="2329209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69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8455" y="5536007"/>
            <a:ext cx="3528000" cy="414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Down Arrow 2"/>
          <p:cNvSpPr/>
          <p:nvPr/>
        </p:nvSpPr>
        <p:spPr bwMode="auto">
          <a:xfrm rot="10800000">
            <a:off x="244549" y="1743736"/>
            <a:ext cx="1711842" cy="4217347"/>
          </a:xfrm>
          <a:prstGeom prst="downArrow">
            <a:avLst>
              <a:gd name="adj1" fmla="val 50000"/>
              <a:gd name="adj2" fmla="val 22736"/>
            </a:avLst>
          </a:prstGeom>
          <a:solidFill>
            <a:srgbClr val="FFCC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7" name="Rounded Rectangle 6"/>
          <p:cNvSpPr/>
          <p:nvPr/>
        </p:nvSpPr>
        <p:spPr bwMode="auto">
          <a:xfrm>
            <a:off x="359408" y="1102992"/>
            <a:ext cx="3951335" cy="545910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600" dirty="0" smtClean="0">
                <a:solidFill>
                  <a:schemeClr val="bg1"/>
                </a:solidFill>
              </a:rPr>
              <a:t>Pasos claves para triunfar en </a:t>
            </a:r>
            <a:r>
              <a:rPr lang="es-MX" sz="1600" dirty="0" err="1" smtClean="0">
                <a:solidFill>
                  <a:schemeClr val="bg1"/>
                </a:solidFill>
              </a:rPr>
              <a:t>eComm</a:t>
            </a:r>
            <a:endParaRPr kumimoji="0" lang="es-PA" sz="160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244549" y="0"/>
            <a:ext cx="2307265" cy="30834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744264" y="2952790"/>
            <a:ext cx="720000" cy="720000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4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2</a:t>
            </a:r>
            <a:endParaRPr kumimoji="0" lang="es-PA" sz="4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744264" y="3697056"/>
            <a:ext cx="720000" cy="720000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4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3</a:t>
            </a:r>
            <a:endParaRPr kumimoji="0" lang="es-PA" sz="4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744262" y="4439806"/>
            <a:ext cx="720000" cy="720000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4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4</a:t>
            </a:r>
            <a:endParaRPr kumimoji="0" lang="es-PA" sz="4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744261" y="5176007"/>
            <a:ext cx="720000" cy="720000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4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5</a:t>
            </a:r>
            <a:endParaRPr kumimoji="0" lang="es-PA" sz="4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744260" y="2210492"/>
            <a:ext cx="720000" cy="720000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4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1</a:t>
            </a:r>
            <a:endParaRPr kumimoji="0" lang="es-PA" sz="4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cxnSp>
        <p:nvCxnSpPr>
          <p:cNvPr id="12" name="Straight Connector 11"/>
          <p:cNvCxnSpPr/>
          <p:nvPr/>
        </p:nvCxnSpPr>
        <p:spPr bwMode="auto">
          <a:xfrm>
            <a:off x="1472948" y="2924142"/>
            <a:ext cx="26543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C00000"/>
            </a:solidFill>
            <a:prstDash val="dash"/>
            <a:round/>
            <a:headEnd type="none" w="med" len="med"/>
            <a:tailEnd type="none"/>
          </a:ln>
          <a:effectLst/>
        </p:spPr>
      </p:cxnSp>
      <p:cxnSp>
        <p:nvCxnSpPr>
          <p:cNvPr id="13" name="Straight Connector 12"/>
          <p:cNvCxnSpPr/>
          <p:nvPr/>
        </p:nvCxnSpPr>
        <p:spPr bwMode="auto">
          <a:xfrm>
            <a:off x="1466298" y="3666440"/>
            <a:ext cx="26543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C00000"/>
            </a:solidFill>
            <a:prstDash val="dash"/>
            <a:round/>
            <a:headEnd type="none" w="med" len="med"/>
            <a:tailEnd type="none"/>
          </a:ln>
          <a:effectLst/>
        </p:spPr>
      </p:cxnSp>
      <p:cxnSp>
        <p:nvCxnSpPr>
          <p:cNvPr id="17" name="Straight Connector 16"/>
          <p:cNvCxnSpPr/>
          <p:nvPr/>
        </p:nvCxnSpPr>
        <p:spPr bwMode="auto">
          <a:xfrm>
            <a:off x="1466598" y="4405236"/>
            <a:ext cx="26543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C00000"/>
            </a:solidFill>
            <a:prstDash val="dash"/>
            <a:round/>
            <a:headEnd type="none" w="med" len="med"/>
            <a:tailEnd type="none"/>
          </a:ln>
          <a:effectLst/>
        </p:spPr>
      </p:cxnSp>
      <p:cxnSp>
        <p:nvCxnSpPr>
          <p:cNvPr id="18" name="Straight Connector 17"/>
          <p:cNvCxnSpPr/>
          <p:nvPr/>
        </p:nvCxnSpPr>
        <p:spPr bwMode="auto">
          <a:xfrm>
            <a:off x="1459948" y="5147432"/>
            <a:ext cx="26543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C00000"/>
            </a:solidFill>
            <a:prstDash val="dash"/>
            <a:round/>
            <a:headEnd type="none" w="med" len="med"/>
            <a:tailEnd type="none"/>
          </a:ln>
          <a:effectLst/>
        </p:spPr>
      </p:cxnSp>
      <p:sp>
        <p:nvSpPr>
          <p:cNvPr id="5" name="TextBox 4"/>
          <p:cNvSpPr txBox="1"/>
          <p:nvPr/>
        </p:nvSpPr>
        <p:spPr>
          <a:xfrm>
            <a:off x="1459948" y="2214585"/>
            <a:ext cx="248315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1400" dirty="0" smtClean="0"/>
              <a:t>Defina su segmento de mercado, sus ventajas competitivas y sus recursos</a:t>
            </a:r>
            <a:endParaRPr lang="es-PA" sz="1400" dirty="0" err="1" smtClean="0"/>
          </a:p>
        </p:txBody>
      </p:sp>
      <p:sp>
        <p:nvSpPr>
          <p:cNvPr id="19" name="TextBox 18"/>
          <p:cNvSpPr txBox="1"/>
          <p:nvPr/>
        </p:nvSpPr>
        <p:spPr>
          <a:xfrm>
            <a:off x="1472648" y="2951977"/>
            <a:ext cx="248315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1400" dirty="0" smtClean="0"/>
              <a:t>Comprenda las normativas y regulaciones  tanto internacionales como locales</a:t>
            </a:r>
            <a:endParaRPr lang="es-PA" sz="1400" dirty="0" err="1" smtClean="0"/>
          </a:p>
        </p:txBody>
      </p:sp>
      <p:sp>
        <p:nvSpPr>
          <p:cNvPr id="20" name="TextBox 19"/>
          <p:cNvSpPr txBox="1"/>
          <p:nvPr/>
        </p:nvSpPr>
        <p:spPr>
          <a:xfrm>
            <a:off x="1472648" y="3687785"/>
            <a:ext cx="2483150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1400" dirty="0" smtClean="0"/>
              <a:t>Personalice su oferta de productos </a:t>
            </a:r>
            <a:r>
              <a:rPr lang="es-MX" sz="1400" dirty="0" smtClean="0"/>
              <a:t>de </a:t>
            </a:r>
            <a:r>
              <a:rPr lang="es-MX" sz="1400" dirty="0" smtClean="0"/>
              <a:t>acuerdo al mercado potencial</a:t>
            </a:r>
            <a:endParaRPr lang="es-PA" sz="1400" dirty="0" err="1" smtClean="0"/>
          </a:p>
        </p:txBody>
      </p:sp>
      <p:sp>
        <p:nvSpPr>
          <p:cNvPr id="21" name="TextBox 20"/>
          <p:cNvSpPr txBox="1"/>
          <p:nvPr/>
        </p:nvSpPr>
        <p:spPr>
          <a:xfrm>
            <a:off x="1472648" y="4562818"/>
            <a:ext cx="2483150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1400" dirty="0" smtClean="0"/>
              <a:t>Seleccione el proceso óptimo de almacenamiento</a:t>
            </a:r>
            <a:endParaRPr lang="es-PA" sz="1400" dirty="0" err="1" smtClean="0"/>
          </a:p>
        </p:txBody>
      </p:sp>
      <p:sp>
        <p:nvSpPr>
          <p:cNvPr id="22" name="TextBox 21"/>
          <p:cNvSpPr txBox="1"/>
          <p:nvPr/>
        </p:nvSpPr>
        <p:spPr>
          <a:xfrm>
            <a:off x="1466298" y="5299019"/>
            <a:ext cx="2483150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1400" dirty="0" smtClean="0"/>
              <a:t>Ofrezca alternativas de E</a:t>
            </a:r>
            <a:r>
              <a:rPr lang="es-MX" sz="1400" dirty="0"/>
              <a:t>ntrega </a:t>
            </a:r>
            <a:r>
              <a:rPr lang="es-MX" sz="1400" dirty="0" smtClean="0"/>
              <a:t>Premium</a:t>
            </a:r>
            <a:endParaRPr lang="es-PA" sz="1400" dirty="0" err="1" smtClean="0"/>
          </a:p>
        </p:txBody>
      </p:sp>
      <p:cxnSp>
        <p:nvCxnSpPr>
          <p:cNvPr id="23" name="Straight Connector 22"/>
          <p:cNvCxnSpPr/>
          <p:nvPr/>
        </p:nvCxnSpPr>
        <p:spPr bwMode="auto">
          <a:xfrm>
            <a:off x="1459948" y="5880132"/>
            <a:ext cx="26543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C00000"/>
            </a:solidFill>
            <a:prstDash val="dash"/>
            <a:round/>
            <a:headEnd type="none" w="med" len="med"/>
            <a:tailEnd type="none"/>
          </a:ln>
          <a:effectLst/>
        </p:spPr>
      </p:cxnSp>
      <p:cxnSp>
        <p:nvCxnSpPr>
          <p:cNvPr id="24" name="Straight Connector 23"/>
          <p:cNvCxnSpPr/>
          <p:nvPr/>
        </p:nvCxnSpPr>
        <p:spPr bwMode="auto">
          <a:xfrm>
            <a:off x="1477064" y="2214585"/>
            <a:ext cx="26543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C00000"/>
            </a:solidFill>
            <a:prstDash val="dash"/>
            <a:round/>
            <a:headEnd type="none" w="med" len="med"/>
            <a:tailEnd type="none"/>
          </a:ln>
          <a:effectLst/>
        </p:spPr>
      </p:cxnSp>
      <p:sp>
        <p:nvSpPr>
          <p:cNvPr id="25" name="Rounded Rectangle 24"/>
          <p:cNvSpPr/>
          <p:nvPr/>
        </p:nvSpPr>
        <p:spPr bwMode="auto">
          <a:xfrm>
            <a:off x="4857341" y="1102992"/>
            <a:ext cx="3951335" cy="545910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600" dirty="0" smtClean="0">
                <a:solidFill>
                  <a:schemeClr val="bg1"/>
                </a:solidFill>
              </a:rPr>
              <a:t>Herramientas Electrónicas para </a:t>
            </a:r>
            <a:r>
              <a:rPr lang="es-MX" sz="1600" dirty="0" err="1" smtClean="0">
                <a:solidFill>
                  <a:schemeClr val="bg1"/>
                </a:solidFill>
              </a:rPr>
              <a:t>eComm</a:t>
            </a:r>
            <a:endParaRPr kumimoji="0" lang="es-PA" sz="160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pic>
        <p:nvPicPr>
          <p:cNvPr id="116739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910" t="26027" r="7408" b="47605"/>
          <a:stretch/>
        </p:blipFill>
        <p:spPr bwMode="auto">
          <a:xfrm>
            <a:off x="5118590" y="3897899"/>
            <a:ext cx="3462419" cy="16284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0" name="Title 9"/>
          <p:cNvSpPr>
            <a:spLocks noGrp="1"/>
          </p:cNvSpPr>
          <p:nvPr>
            <p:ph type="title"/>
          </p:nvPr>
        </p:nvSpPr>
        <p:spPr>
          <a:xfrm>
            <a:off x="414000" y="201600"/>
            <a:ext cx="5305864" cy="712800"/>
          </a:xfrm>
        </p:spPr>
        <p:txBody>
          <a:bodyPr/>
          <a:lstStyle/>
          <a:p>
            <a:r>
              <a:rPr lang="es-PA" b="1" i="1" dirty="0"/>
              <a:t>El </a:t>
            </a:r>
            <a:r>
              <a:rPr lang="es-PA" b="1" i="1" dirty="0" err="1"/>
              <a:t>eComm</a:t>
            </a:r>
            <a:r>
              <a:rPr lang="es-PA" b="1" i="1" dirty="0"/>
              <a:t> Internacional</a:t>
            </a:r>
            <a:br>
              <a:rPr lang="es-PA" b="1" i="1" dirty="0"/>
            </a:br>
            <a:r>
              <a:rPr lang="es-PA" sz="1600" i="1" dirty="0"/>
              <a:t>La opción de mayor crecimiento para el sector </a:t>
            </a:r>
            <a:r>
              <a:rPr lang="es-PA" sz="1600" i="1" dirty="0" err="1" smtClean="0"/>
              <a:t>Retail</a:t>
            </a:r>
            <a:r>
              <a:rPr lang="es-PA" sz="1600" i="1" dirty="0" smtClean="0"/>
              <a:t> </a:t>
            </a:r>
            <a:endParaRPr lang="es-PA" sz="1600" i="1" dirty="0"/>
          </a:p>
        </p:txBody>
      </p:sp>
      <p:pic>
        <p:nvPicPr>
          <p:cNvPr id="11469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2977" y="1647452"/>
            <a:ext cx="3442855" cy="2204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41527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6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7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6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" grpId="0" animBg="1"/>
      <p:bldP spid="6" grpId="0" animBg="1"/>
      <p:bldP spid="8" grpId="0" animBg="1"/>
      <p:bldP spid="9" grpId="0" animBg="1"/>
      <p:bldP spid="11" grpId="0" animBg="1"/>
      <p:bldP spid="5" grpId="0"/>
      <p:bldP spid="19" grpId="0"/>
      <p:bldP spid="20" grpId="0"/>
      <p:bldP spid="21" grpId="0"/>
      <p:bldP spid="22" grpId="0"/>
      <p:bldP spid="2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14000" y="201600"/>
            <a:ext cx="5305864" cy="712800"/>
          </a:xfrm>
        </p:spPr>
        <p:txBody>
          <a:bodyPr/>
          <a:lstStyle/>
          <a:p>
            <a:r>
              <a:rPr lang="es-PA" b="1" i="1" dirty="0"/>
              <a:t>El </a:t>
            </a:r>
            <a:r>
              <a:rPr lang="es-PA" b="1" i="1" dirty="0" err="1"/>
              <a:t>eComm</a:t>
            </a:r>
            <a:r>
              <a:rPr lang="es-PA" b="1" i="1" dirty="0"/>
              <a:t> Internacional</a:t>
            </a:r>
            <a:br>
              <a:rPr lang="es-PA" b="1" i="1" dirty="0"/>
            </a:br>
            <a:r>
              <a:rPr lang="es-PA" sz="1600" i="1" dirty="0"/>
              <a:t>La opción de mayor crecimiento para el sector </a:t>
            </a:r>
            <a:r>
              <a:rPr lang="es-PA" sz="1600" i="1" dirty="0" err="1" smtClean="0"/>
              <a:t>Retail</a:t>
            </a:r>
            <a:r>
              <a:rPr lang="es-PA" sz="1600" i="1" dirty="0" smtClean="0"/>
              <a:t> </a:t>
            </a:r>
            <a:endParaRPr lang="es-PA" sz="1600" i="1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244549" y="0"/>
            <a:ext cx="2307265" cy="30834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651816" y="2055695"/>
            <a:ext cx="4054207" cy="29274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s-MX" sz="1400" dirty="0" smtClean="0"/>
              <a:t>Fundador de Amazon.com en 1.995</a:t>
            </a:r>
          </a:p>
          <a:p>
            <a:pPr marL="285750" indent="-2857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s-MX" sz="1400" dirty="0" smtClean="0"/>
              <a:t>En menos de 1 mes registró ventas de libros en 45 países</a:t>
            </a:r>
          </a:p>
          <a:p>
            <a:pPr marL="285750" indent="-2857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s-MX" sz="1400" dirty="0" smtClean="0"/>
              <a:t>En 1.998 amplió la gama de productos incluyendo </a:t>
            </a:r>
            <a:r>
              <a:rPr lang="es-MX" sz="1400" dirty="0" err="1" smtClean="0"/>
              <a:t>CDs</a:t>
            </a:r>
            <a:r>
              <a:rPr lang="es-MX" sz="1400" dirty="0" smtClean="0"/>
              <a:t> y Videos, posteriormente agregó al portafolio artículos de vestir, juguetes y electrónicos</a:t>
            </a:r>
          </a:p>
          <a:p>
            <a:pPr marL="285750" indent="-2857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s-MX" sz="1400" dirty="0" smtClean="0"/>
              <a:t>Amazon es actualmente la compañía más grande de venta por internet en el mundo</a:t>
            </a:r>
          </a:p>
          <a:p>
            <a:pPr marL="285750" indent="-285750">
              <a:lnSpc>
                <a:spcPct val="11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s-MX" sz="1400" dirty="0" smtClean="0"/>
              <a:t>En 2.015 superó a </a:t>
            </a:r>
            <a:r>
              <a:rPr lang="es-MX" sz="1400" dirty="0" err="1" smtClean="0"/>
              <a:t>Walmart</a:t>
            </a:r>
            <a:r>
              <a:rPr lang="es-MX" sz="1400" dirty="0" smtClean="0"/>
              <a:t> como el </a:t>
            </a:r>
            <a:r>
              <a:rPr lang="es-MX" sz="1400" dirty="0" err="1" smtClean="0"/>
              <a:t>Retail</a:t>
            </a:r>
            <a:r>
              <a:rPr lang="es-MX" sz="1400" dirty="0" smtClean="0"/>
              <a:t> de mayor valor en U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762850" y="6408121"/>
            <a:ext cx="5832143" cy="23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es-MX" sz="700" dirty="0" smtClean="0">
                <a:solidFill>
                  <a:srgbClr val="C00000"/>
                </a:solidFill>
              </a:rPr>
              <a:t>Fuente International </a:t>
            </a:r>
            <a:r>
              <a:rPr lang="es-MX" sz="700" dirty="0" err="1" smtClean="0">
                <a:solidFill>
                  <a:srgbClr val="C00000"/>
                </a:solidFill>
              </a:rPr>
              <a:t>Finance</a:t>
            </a:r>
            <a:endParaRPr lang="es-PA" sz="700" dirty="0" smtClean="0">
              <a:solidFill>
                <a:srgbClr val="C00000"/>
              </a:solidFill>
            </a:endParaRPr>
          </a:p>
          <a:p>
            <a:pPr algn="r">
              <a:lnSpc>
                <a:spcPct val="110000"/>
              </a:lnSpc>
            </a:pPr>
            <a:r>
              <a:rPr lang="es-PA" sz="700" dirty="0">
                <a:solidFill>
                  <a:srgbClr val="C00000"/>
                </a:solidFill>
              </a:rPr>
              <a:t>http://www.internationalfinancemagazine.com/article/Ecommerce-Pioneer-Jeff-Bezos.html</a:t>
            </a:r>
            <a:endParaRPr lang="es-PA" sz="700" dirty="0" smtClean="0">
              <a:solidFill>
                <a:srgbClr val="C00000"/>
              </a:solidFill>
            </a:endParaRPr>
          </a:p>
        </p:txBody>
      </p:sp>
      <p:pic>
        <p:nvPicPr>
          <p:cNvPr id="11571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63" y="1978025"/>
            <a:ext cx="2663825" cy="300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76263" y="5106537"/>
            <a:ext cx="2663825" cy="6925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s-PA" sz="1400" b="1" i="1" dirty="0" smtClean="0"/>
              <a:t>Jeff Bezos </a:t>
            </a:r>
          </a:p>
          <a:p>
            <a:pPr algn="ctr">
              <a:lnSpc>
                <a:spcPct val="110000"/>
              </a:lnSpc>
            </a:pPr>
            <a:r>
              <a:rPr lang="es-PA" sz="1400" dirty="0" smtClean="0"/>
              <a:t>“</a:t>
            </a:r>
            <a:r>
              <a:rPr lang="es-PA" sz="1400" i="1" dirty="0" smtClean="0"/>
              <a:t>Nuestra </a:t>
            </a:r>
            <a:r>
              <a:rPr lang="es-PA" sz="1400" i="1" dirty="0"/>
              <a:t>visión es un mundo centrado en el cliente</a:t>
            </a:r>
            <a:r>
              <a:rPr lang="es-PA" sz="1400" dirty="0"/>
              <a:t>” (2001)</a:t>
            </a:r>
            <a:endParaRPr lang="es-PA" sz="1400" dirty="0" smtClean="0"/>
          </a:p>
        </p:txBody>
      </p:sp>
    </p:spTree>
    <p:extLst>
      <p:ext uri="{BB962C8B-B14F-4D97-AF65-F5344CB8AC3E}">
        <p14:creationId xmlns:p14="http://schemas.microsoft.com/office/powerpoint/2010/main" val="3122471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244549" y="0"/>
            <a:ext cx="2307265" cy="30834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8" name="Title 9"/>
          <p:cNvSpPr>
            <a:spLocks noGrp="1"/>
          </p:cNvSpPr>
          <p:nvPr>
            <p:ph type="title"/>
          </p:nvPr>
        </p:nvSpPr>
        <p:spPr>
          <a:xfrm>
            <a:off x="414000" y="201600"/>
            <a:ext cx="5305864" cy="712800"/>
          </a:xfrm>
        </p:spPr>
        <p:txBody>
          <a:bodyPr/>
          <a:lstStyle/>
          <a:p>
            <a:r>
              <a:rPr lang="es-PA" b="1" i="1" dirty="0"/>
              <a:t>El </a:t>
            </a:r>
            <a:r>
              <a:rPr lang="es-PA" b="1" i="1" dirty="0" err="1"/>
              <a:t>eComm</a:t>
            </a:r>
            <a:r>
              <a:rPr lang="es-PA" b="1" i="1" dirty="0"/>
              <a:t> Internacional</a:t>
            </a:r>
            <a:br>
              <a:rPr lang="es-PA" b="1" i="1" dirty="0"/>
            </a:br>
            <a:r>
              <a:rPr lang="es-PA" sz="1600" i="1" dirty="0"/>
              <a:t>La opción de mayor crecimiento para el sector </a:t>
            </a:r>
            <a:r>
              <a:rPr lang="es-PA" sz="1600" i="1" dirty="0" err="1" smtClean="0"/>
              <a:t>Retail</a:t>
            </a:r>
            <a:r>
              <a:rPr lang="es-PA" sz="1600" i="1" dirty="0" smtClean="0"/>
              <a:t> </a:t>
            </a:r>
            <a:endParaRPr lang="es-PA" sz="1600" i="1" dirty="0"/>
          </a:p>
        </p:txBody>
      </p:sp>
      <p:sp>
        <p:nvSpPr>
          <p:cNvPr id="2" name="TextBox 1"/>
          <p:cNvSpPr txBox="1"/>
          <p:nvPr/>
        </p:nvSpPr>
        <p:spPr>
          <a:xfrm>
            <a:off x="997528" y="1531906"/>
            <a:ext cx="6923314" cy="17230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PA" sz="2000" dirty="0">
                <a:solidFill>
                  <a:srgbClr val="C00000"/>
                </a:solidFill>
              </a:rPr>
              <a:t>“</a:t>
            </a:r>
            <a:r>
              <a:rPr lang="es-PA" sz="2000" i="1" dirty="0">
                <a:solidFill>
                  <a:srgbClr val="C00000"/>
                </a:solidFill>
              </a:rPr>
              <a:t>El comercio electrónico será un amplio sector en el que triunfarán numerosas empresas al mismo tiempo con estrategias diferentes. Aquí hay sitio no para diez o cien empresas, sino para miles o decenas de miles de empresas</a:t>
            </a:r>
            <a:r>
              <a:rPr lang="es-PA" sz="2000" dirty="0" smtClean="0">
                <a:solidFill>
                  <a:srgbClr val="C00000"/>
                </a:solidFill>
              </a:rPr>
              <a:t>”.</a:t>
            </a:r>
          </a:p>
          <a:p>
            <a:pPr algn="r">
              <a:lnSpc>
                <a:spcPct val="110000"/>
              </a:lnSpc>
              <a:spcAft>
                <a:spcPts val="500"/>
              </a:spcAft>
            </a:pPr>
            <a:r>
              <a:rPr lang="es-MX" i="1" dirty="0" smtClean="0">
                <a:solidFill>
                  <a:srgbClr val="C00000"/>
                </a:solidFill>
              </a:rPr>
              <a:t>Jeff Bezos</a:t>
            </a:r>
            <a:endParaRPr lang="es-PA" i="1" dirty="0" smtClean="0">
              <a:solidFill>
                <a:srgbClr val="C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97528" y="4051693"/>
            <a:ext cx="6923314" cy="6870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4400" dirty="0" smtClean="0">
                <a:solidFill>
                  <a:srgbClr val="C00000"/>
                </a:solidFill>
              </a:rPr>
              <a:t>Muchas Gracias!!!</a:t>
            </a:r>
            <a:endParaRPr lang="es-PA" sz="4000" i="1" dirty="0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163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/>
        </p:nvSpPr>
        <p:spPr bwMode="auto">
          <a:xfrm>
            <a:off x="359407" y="1269242"/>
            <a:ext cx="5965200" cy="545910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Datos sobre </a:t>
            </a:r>
            <a:r>
              <a:rPr kumimoji="0" lang="es-MX" sz="160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eComm</a:t>
            </a: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a nivel Global</a:t>
            </a:r>
            <a:endParaRPr kumimoji="0" lang="es-PA" sz="160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244549" y="0"/>
            <a:ext cx="2307265" cy="30834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1167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6731" y="1965780"/>
            <a:ext cx="6677025" cy="3729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/>
        </p:nvSpPr>
        <p:spPr bwMode="auto">
          <a:xfrm>
            <a:off x="4695825" y="3390900"/>
            <a:ext cx="190500" cy="1838325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943725" y="3752851"/>
            <a:ext cx="190500" cy="1476374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586514" y="3524251"/>
            <a:ext cx="190500" cy="1704974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1" name="Title 9"/>
          <p:cNvSpPr>
            <a:spLocks noGrp="1"/>
          </p:cNvSpPr>
          <p:nvPr>
            <p:ph type="title"/>
          </p:nvPr>
        </p:nvSpPr>
        <p:spPr>
          <a:xfrm>
            <a:off x="414000" y="201600"/>
            <a:ext cx="5305864" cy="712800"/>
          </a:xfrm>
        </p:spPr>
        <p:txBody>
          <a:bodyPr/>
          <a:lstStyle/>
          <a:p>
            <a:r>
              <a:rPr lang="es-PA" b="1" i="1" dirty="0"/>
              <a:t>El </a:t>
            </a:r>
            <a:r>
              <a:rPr lang="es-PA" b="1" i="1" dirty="0" err="1"/>
              <a:t>eComm</a:t>
            </a:r>
            <a:r>
              <a:rPr lang="es-PA" b="1" i="1" dirty="0"/>
              <a:t> Internacional</a:t>
            </a:r>
            <a:br>
              <a:rPr lang="es-PA" b="1" i="1" dirty="0"/>
            </a:br>
            <a:r>
              <a:rPr lang="es-PA" sz="1600" i="1" dirty="0"/>
              <a:t>La opción de mayor crecimiento para el sector </a:t>
            </a:r>
            <a:r>
              <a:rPr lang="es-PA" sz="1600" i="1" dirty="0" err="1" smtClean="0"/>
              <a:t>Retail</a:t>
            </a:r>
            <a:r>
              <a:rPr lang="es-PA" sz="1600" i="1" dirty="0" smtClean="0"/>
              <a:t> </a:t>
            </a:r>
            <a:endParaRPr lang="es-PA" sz="1600" i="1" dirty="0"/>
          </a:p>
        </p:txBody>
      </p:sp>
      <p:sp>
        <p:nvSpPr>
          <p:cNvPr id="3" name="Oval 2"/>
          <p:cNvSpPr/>
          <p:nvPr/>
        </p:nvSpPr>
        <p:spPr bwMode="auto">
          <a:xfrm>
            <a:off x="4455186" y="2553193"/>
            <a:ext cx="671775" cy="558141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AR 48%</a:t>
            </a: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5250626" y="2553192"/>
            <a:ext cx="671775" cy="558141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BR 45%</a:t>
            </a: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3" name="Oval 12"/>
          <p:cNvSpPr/>
          <p:nvPr/>
        </p:nvSpPr>
        <p:spPr bwMode="auto">
          <a:xfrm>
            <a:off x="6607837" y="2553192"/>
            <a:ext cx="671775" cy="558141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400" dirty="0" smtClean="0"/>
              <a:t>MX</a:t>
            </a:r>
            <a:r>
              <a:rPr kumimoji="0" lang="es-MX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37%</a:t>
            </a: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299218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7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  <p:bldP spid="9" grpId="0" animBg="1"/>
      <p:bldP spid="3" grpId="0" animBg="1"/>
      <p:bldP spid="10" grpId="0" animBg="1"/>
      <p:bldP spid="1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244549" y="0"/>
            <a:ext cx="2307265" cy="30834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1177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4830" y="2005013"/>
            <a:ext cx="6657919" cy="372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ounded Rectangle 5"/>
          <p:cNvSpPr/>
          <p:nvPr/>
        </p:nvSpPr>
        <p:spPr bwMode="auto">
          <a:xfrm>
            <a:off x="359407" y="1269242"/>
            <a:ext cx="5965200" cy="545910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Datos sobre </a:t>
            </a:r>
            <a:r>
              <a:rPr kumimoji="0" lang="es-MX" sz="160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eComm</a:t>
            </a: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a nivel Global</a:t>
            </a:r>
            <a:endParaRPr kumimoji="0" lang="es-PA" sz="160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5257800" y="4424363"/>
            <a:ext cx="190500" cy="852487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6181725" y="4352926"/>
            <a:ext cx="190500" cy="923924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5491264" y="4486202"/>
            <a:ext cx="190500" cy="790648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3" name="Title 9"/>
          <p:cNvSpPr>
            <a:spLocks noGrp="1"/>
          </p:cNvSpPr>
          <p:nvPr>
            <p:ph type="title"/>
          </p:nvPr>
        </p:nvSpPr>
        <p:spPr>
          <a:xfrm>
            <a:off x="414000" y="201600"/>
            <a:ext cx="5305864" cy="712800"/>
          </a:xfrm>
        </p:spPr>
        <p:txBody>
          <a:bodyPr/>
          <a:lstStyle/>
          <a:p>
            <a:r>
              <a:rPr lang="es-PA" b="1" i="1" dirty="0"/>
              <a:t>El </a:t>
            </a:r>
            <a:r>
              <a:rPr lang="es-PA" b="1" i="1" dirty="0" err="1"/>
              <a:t>eComm</a:t>
            </a:r>
            <a:r>
              <a:rPr lang="es-PA" b="1" i="1" dirty="0"/>
              <a:t> Internacional</a:t>
            </a:r>
            <a:br>
              <a:rPr lang="es-PA" b="1" i="1" dirty="0"/>
            </a:br>
            <a:r>
              <a:rPr lang="es-PA" sz="1600" i="1" dirty="0"/>
              <a:t>La opción de mayor crecimiento para el sector </a:t>
            </a:r>
            <a:r>
              <a:rPr lang="es-PA" sz="1600" i="1" dirty="0" err="1" smtClean="0"/>
              <a:t>Retail</a:t>
            </a:r>
            <a:r>
              <a:rPr lang="es-PA" sz="1600" i="1" dirty="0" smtClean="0"/>
              <a:t> </a:t>
            </a:r>
            <a:endParaRPr lang="es-PA" sz="1600" i="1" dirty="0"/>
          </a:p>
        </p:txBody>
      </p:sp>
      <p:sp>
        <p:nvSpPr>
          <p:cNvPr id="10" name="Oval 9"/>
          <p:cNvSpPr/>
          <p:nvPr/>
        </p:nvSpPr>
        <p:spPr bwMode="auto">
          <a:xfrm>
            <a:off x="4958037" y="2961349"/>
            <a:ext cx="671775" cy="558141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AR $</a:t>
            </a:r>
            <a:r>
              <a:rPr kumimoji="0" lang="es-MX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318</a:t>
            </a:r>
            <a:endParaRPr kumimoji="0" lang="es-PA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4" name="Oval 13"/>
          <p:cNvSpPr/>
          <p:nvPr/>
        </p:nvSpPr>
        <p:spPr bwMode="auto">
          <a:xfrm>
            <a:off x="5317675" y="3483865"/>
            <a:ext cx="671775" cy="558141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BR $</a:t>
            </a:r>
            <a:r>
              <a:rPr kumimoji="0" lang="es-MX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274</a:t>
            </a:r>
            <a:endParaRPr kumimoji="0" lang="es-PA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5" name="Oval 14"/>
          <p:cNvSpPr/>
          <p:nvPr/>
        </p:nvSpPr>
        <p:spPr bwMode="auto">
          <a:xfrm>
            <a:off x="5965700" y="3723535"/>
            <a:ext cx="671775" cy="558141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dirty="0" smtClean="0"/>
              <a:t>MX</a:t>
            </a:r>
            <a:r>
              <a:rPr kumimoji="0" lang="es-MX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$</a:t>
            </a:r>
            <a:r>
              <a:rPr kumimoji="0" lang="es-MX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210</a:t>
            </a:r>
            <a:endParaRPr kumimoji="0" lang="es-PA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724284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7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1" grpId="0" animBg="1"/>
      <p:bldP spid="10" grpId="0" animBg="1"/>
      <p:bldP spid="14" grpId="0" animBg="1"/>
      <p:bldP spid="1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/>
          <p:cNvSpPr/>
          <p:nvPr/>
        </p:nvSpPr>
        <p:spPr bwMode="auto">
          <a:xfrm>
            <a:off x="1937986" y="2034765"/>
            <a:ext cx="5227092" cy="3563288"/>
          </a:xfrm>
          <a:prstGeom prst="roundRect">
            <a:avLst>
              <a:gd name="adj" fmla="val 6667"/>
            </a:avLst>
          </a:prstGeom>
          <a:noFill/>
          <a:ln w="127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516987" y="2241953"/>
            <a:ext cx="2000850" cy="1569492"/>
            <a:chOff x="3261819" y="2144400"/>
            <a:chExt cx="2000850" cy="1569492"/>
          </a:xfrm>
        </p:grpSpPr>
        <p:sp>
          <p:nvSpPr>
            <p:cNvPr id="8" name="Right Arrow 7"/>
            <p:cNvSpPr/>
            <p:nvPr/>
          </p:nvSpPr>
          <p:spPr bwMode="auto">
            <a:xfrm rot="16200000">
              <a:off x="4388488" y="2054965"/>
              <a:ext cx="784745" cy="963616"/>
            </a:xfrm>
            <a:prstGeom prst="rightArrow">
              <a:avLst/>
            </a:prstGeom>
            <a:solidFill>
              <a:srgbClr val="D4051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A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57" name="Right Arrow 56"/>
            <p:cNvSpPr/>
            <p:nvPr/>
          </p:nvSpPr>
          <p:spPr bwMode="auto">
            <a:xfrm rot="16200000">
              <a:off x="4388488" y="2447337"/>
              <a:ext cx="784745" cy="963616"/>
            </a:xfrm>
            <a:prstGeom prst="rightArrow">
              <a:avLst/>
            </a:prstGeom>
            <a:solidFill>
              <a:schemeClr val="tx1">
                <a:lumMod val="75000"/>
                <a:lumOff val="25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A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60" name="Right Arrow 59"/>
            <p:cNvSpPr/>
            <p:nvPr/>
          </p:nvSpPr>
          <p:spPr bwMode="auto">
            <a:xfrm rot="16200000">
              <a:off x="4388486" y="2839710"/>
              <a:ext cx="784747" cy="963617"/>
            </a:xfrm>
            <a:prstGeom prst="rightArrow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A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261819" y="2536773"/>
              <a:ext cx="957625" cy="8125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10000"/>
                </a:lnSpc>
                <a:spcAft>
                  <a:spcPts val="500"/>
                </a:spcAft>
              </a:pPr>
              <a:r>
                <a:rPr lang="es-MX" sz="4800" b="1" dirty="0" smtClean="0">
                  <a:solidFill>
                    <a:srgbClr val="C00000"/>
                  </a:solidFill>
                </a:rPr>
                <a:t>X3</a:t>
              </a:r>
            </a:p>
          </p:txBody>
        </p:sp>
      </p:grpSp>
      <p:sp>
        <p:nvSpPr>
          <p:cNvPr id="61" name="TextBox 60"/>
          <p:cNvSpPr txBox="1"/>
          <p:nvPr/>
        </p:nvSpPr>
        <p:spPr>
          <a:xfrm>
            <a:off x="1937986" y="3881576"/>
            <a:ext cx="5227092" cy="15501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2400" dirty="0" smtClean="0"/>
              <a:t>El mercado crecerá de </a:t>
            </a:r>
          </a:p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2800" b="1" i="1" dirty="0" smtClean="0"/>
              <a:t>US $ 300.000 </a:t>
            </a:r>
            <a:r>
              <a:rPr lang="es-MX" sz="2400" dirty="0" err="1" smtClean="0"/>
              <a:t>Mill</a:t>
            </a:r>
            <a:r>
              <a:rPr lang="es-MX" sz="2400" dirty="0" smtClean="0"/>
              <a:t> en 2015 a</a:t>
            </a:r>
          </a:p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3200" b="1" i="1" dirty="0" smtClean="0"/>
              <a:t>US $ 900.000 </a:t>
            </a:r>
            <a:r>
              <a:rPr lang="es-MX" sz="2400" dirty="0" err="1" smtClean="0"/>
              <a:t>Mill</a:t>
            </a:r>
            <a:r>
              <a:rPr lang="es-MX" sz="2400" dirty="0" smtClean="0"/>
              <a:t> en 2.020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244549" y="0"/>
            <a:ext cx="2307265" cy="30834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359407" y="1269242"/>
            <a:ext cx="5965200" cy="545910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Datos sobre </a:t>
            </a:r>
            <a:r>
              <a:rPr kumimoji="0" lang="es-MX" sz="160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eComm</a:t>
            </a: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a nivel Global</a:t>
            </a:r>
            <a:endParaRPr kumimoji="0" lang="es-PA" sz="160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4" name="Title 9"/>
          <p:cNvSpPr>
            <a:spLocks noGrp="1"/>
          </p:cNvSpPr>
          <p:nvPr>
            <p:ph type="title"/>
          </p:nvPr>
        </p:nvSpPr>
        <p:spPr>
          <a:xfrm>
            <a:off x="414000" y="201600"/>
            <a:ext cx="5305864" cy="712800"/>
          </a:xfrm>
        </p:spPr>
        <p:txBody>
          <a:bodyPr/>
          <a:lstStyle/>
          <a:p>
            <a:r>
              <a:rPr lang="es-PA" b="1" i="1" dirty="0"/>
              <a:t>El </a:t>
            </a:r>
            <a:r>
              <a:rPr lang="es-PA" b="1" i="1" dirty="0" err="1"/>
              <a:t>eComm</a:t>
            </a:r>
            <a:r>
              <a:rPr lang="es-PA" b="1" i="1" dirty="0"/>
              <a:t> Internacional</a:t>
            </a:r>
            <a:br>
              <a:rPr lang="es-PA" b="1" i="1" dirty="0"/>
            </a:br>
            <a:r>
              <a:rPr lang="es-PA" sz="1600" i="1" dirty="0"/>
              <a:t>La opción de mayor crecimiento para el sector </a:t>
            </a:r>
            <a:r>
              <a:rPr lang="es-PA" sz="1600" i="1" dirty="0" err="1" smtClean="0"/>
              <a:t>Retail</a:t>
            </a:r>
            <a:r>
              <a:rPr lang="es-PA" sz="1600" i="1" dirty="0" smtClean="0"/>
              <a:t> </a:t>
            </a:r>
            <a:endParaRPr lang="es-PA" sz="1600" i="1" dirty="0"/>
          </a:p>
        </p:txBody>
      </p:sp>
    </p:spTree>
    <p:extLst>
      <p:ext uri="{BB962C8B-B14F-4D97-AF65-F5344CB8AC3E}">
        <p14:creationId xmlns:p14="http://schemas.microsoft.com/office/powerpoint/2010/main" val="4240623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6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/>
          <p:cNvSpPr/>
          <p:nvPr/>
        </p:nvSpPr>
        <p:spPr bwMode="auto">
          <a:xfrm>
            <a:off x="2006227" y="2156348"/>
            <a:ext cx="5227092" cy="3563288"/>
          </a:xfrm>
          <a:prstGeom prst="roundRect">
            <a:avLst>
              <a:gd name="adj" fmla="val 6667"/>
            </a:avLst>
          </a:prstGeom>
          <a:noFill/>
          <a:ln w="127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418888" y="2363103"/>
            <a:ext cx="2401770" cy="1231622"/>
            <a:chOff x="3136702" y="2363103"/>
            <a:chExt cx="2401770" cy="1231622"/>
          </a:xfrm>
        </p:grpSpPr>
        <p:sp>
          <p:nvSpPr>
            <p:cNvPr id="8" name="Right Arrow 7"/>
            <p:cNvSpPr/>
            <p:nvPr/>
          </p:nvSpPr>
          <p:spPr bwMode="auto">
            <a:xfrm rot="16200000">
              <a:off x="4638472" y="2543103"/>
              <a:ext cx="1080000" cy="720000"/>
            </a:xfrm>
            <a:prstGeom prst="rightArrow">
              <a:avLst/>
            </a:prstGeom>
            <a:solidFill>
              <a:srgbClr val="D4051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A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60" name="Right Arrow 59"/>
            <p:cNvSpPr/>
            <p:nvPr/>
          </p:nvSpPr>
          <p:spPr bwMode="auto">
            <a:xfrm rot="16200000">
              <a:off x="4297656" y="2813103"/>
              <a:ext cx="540000" cy="720000"/>
            </a:xfrm>
            <a:prstGeom prst="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PA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136702" y="2751481"/>
              <a:ext cx="957625" cy="8432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10000"/>
                </a:lnSpc>
                <a:spcAft>
                  <a:spcPts val="500"/>
                </a:spcAft>
              </a:pPr>
              <a:r>
                <a:rPr lang="es-MX" sz="5400" b="1" dirty="0" smtClean="0">
                  <a:solidFill>
                    <a:srgbClr val="C00000"/>
                  </a:solidFill>
                </a:rPr>
                <a:t>X2</a:t>
              </a:r>
            </a:p>
          </p:txBody>
        </p:sp>
      </p:grpSp>
      <p:sp>
        <p:nvSpPr>
          <p:cNvPr id="61" name="TextBox 60"/>
          <p:cNvSpPr txBox="1"/>
          <p:nvPr/>
        </p:nvSpPr>
        <p:spPr>
          <a:xfrm>
            <a:off x="2458883" y="3853031"/>
            <a:ext cx="4337706" cy="16507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3200" dirty="0" smtClean="0"/>
              <a:t>El </a:t>
            </a:r>
            <a:r>
              <a:rPr lang="es-MX" sz="3200" b="1" i="1" dirty="0" smtClean="0"/>
              <a:t>Internacional</a:t>
            </a:r>
            <a:r>
              <a:rPr lang="es-MX" sz="3200" dirty="0" smtClean="0"/>
              <a:t> crece </a:t>
            </a:r>
            <a:r>
              <a:rPr lang="es-MX" sz="3600" b="1" i="1" dirty="0" smtClean="0"/>
              <a:t>2</a:t>
            </a:r>
            <a:r>
              <a:rPr lang="es-MX" sz="3200" dirty="0" smtClean="0"/>
              <a:t> veces Más </a:t>
            </a:r>
            <a:r>
              <a:rPr lang="es-MX" sz="3200" dirty="0"/>
              <a:t>R</a:t>
            </a:r>
            <a:r>
              <a:rPr lang="es-MX" sz="3200" dirty="0" smtClean="0"/>
              <a:t>ápido que el </a:t>
            </a:r>
            <a:r>
              <a:rPr lang="es-MX" sz="3200" b="1" i="1" dirty="0" smtClean="0"/>
              <a:t>Nacional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244549" y="0"/>
            <a:ext cx="2307265" cy="30834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359407" y="1269242"/>
            <a:ext cx="5965200" cy="545910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Datos sobre </a:t>
            </a:r>
            <a:r>
              <a:rPr kumimoji="0" lang="es-MX" sz="160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eComm</a:t>
            </a: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a nivel Global</a:t>
            </a:r>
            <a:endParaRPr kumimoji="0" lang="es-PA" sz="160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>
          <a:xfrm>
            <a:off x="414000" y="201600"/>
            <a:ext cx="5305864" cy="712800"/>
          </a:xfrm>
        </p:spPr>
        <p:txBody>
          <a:bodyPr/>
          <a:lstStyle/>
          <a:p>
            <a:r>
              <a:rPr lang="es-PA" b="1" i="1" dirty="0"/>
              <a:t>El </a:t>
            </a:r>
            <a:r>
              <a:rPr lang="es-PA" b="1" i="1" dirty="0" err="1"/>
              <a:t>eComm</a:t>
            </a:r>
            <a:r>
              <a:rPr lang="es-PA" b="1" i="1" dirty="0"/>
              <a:t> Internacional</a:t>
            </a:r>
            <a:br>
              <a:rPr lang="es-PA" b="1" i="1" dirty="0"/>
            </a:br>
            <a:r>
              <a:rPr lang="es-PA" sz="1600" i="1" dirty="0"/>
              <a:t>La opción de mayor crecimiento para el sector </a:t>
            </a:r>
            <a:r>
              <a:rPr lang="es-PA" sz="1600" i="1" dirty="0" err="1" smtClean="0"/>
              <a:t>Retail</a:t>
            </a:r>
            <a:r>
              <a:rPr lang="es-PA" sz="1600" i="1" dirty="0" smtClean="0"/>
              <a:t> </a:t>
            </a:r>
            <a:endParaRPr lang="es-PA" sz="1600" i="1" dirty="0"/>
          </a:p>
        </p:txBody>
      </p:sp>
    </p:spTree>
    <p:extLst>
      <p:ext uri="{BB962C8B-B14F-4D97-AF65-F5344CB8AC3E}">
        <p14:creationId xmlns:p14="http://schemas.microsoft.com/office/powerpoint/2010/main" val="138763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6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/>
          <p:cNvSpPr/>
          <p:nvPr/>
        </p:nvSpPr>
        <p:spPr bwMode="auto">
          <a:xfrm>
            <a:off x="1992579" y="2156348"/>
            <a:ext cx="5227092" cy="3563288"/>
          </a:xfrm>
          <a:prstGeom prst="roundRect">
            <a:avLst>
              <a:gd name="adj" fmla="val 6667"/>
            </a:avLst>
          </a:prstGeom>
          <a:noFill/>
          <a:ln w="127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8" name="Right Arrow 7"/>
          <p:cNvSpPr/>
          <p:nvPr/>
        </p:nvSpPr>
        <p:spPr bwMode="auto">
          <a:xfrm rot="16200000">
            <a:off x="5505088" y="3283291"/>
            <a:ext cx="2166747" cy="989464"/>
          </a:xfrm>
          <a:prstGeom prst="rightArrow">
            <a:avLst/>
          </a:prstGeom>
          <a:solidFill>
            <a:srgbClr val="D4051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2599901" y="2694649"/>
            <a:ext cx="3357349" cy="24685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2800" dirty="0" smtClean="0"/>
              <a:t>El </a:t>
            </a:r>
            <a:r>
              <a:rPr lang="es-MX" sz="3600" b="1" i="1" dirty="0" smtClean="0">
                <a:solidFill>
                  <a:srgbClr val="C00000"/>
                </a:solidFill>
              </a:rPr>
              <a:t>71% </a:t>
            </a:r>
            <a:r>
              <a:rPr lang="es-MX" sz="2800" dirty="0" smtClean="0"/>
              <a:t>de Tiendas Online esperan que su cuota de venta </a:t>
            </a:r>
            <a:r>
              <a:rPr lang="es-MX" sz="2800" b="1" i="1" dirty="0" smtClean="0"/>
              <a:t>Internacional </a:t>
            </a:r>
            <a:r>
              <a:rPr lang="es-MX" sz="2800" dirty="0" smtClean="0"/>
              <a:t>aumente en el futuro</a:t>
            </a:r>
            <a:endParaRPr lang="es-MX" sz="2800" b="1" i="1" dirty="0" smtClean="0"/>
          </a:p>
        </p:txBody>
      </p:sp>
      <p:sp>
        <p:nvSpPr>
          <p:cNvPr id="12" name="Rectangle 11"/>
          <p:cNvSpPr/>
          <p:nvPr/>
        </p:nvSpPr>
        <p:spPr bwMode="auto">
          <a:xfrm>
            <a:off x="244549" y="0"/>
            <a:ext cx="2307265" cy="30834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359407" y="1269242"/>
            <a:ext cx="5965200" cy="545910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Datos sobre </a:t>
            </a:r>
            <a:r>
              <a:rPr kumimoji="0" lang="es-MX" sz="160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eComm</a:t>
            </a: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a nivel Global</a:t>
            </a:r>
            <a:endParaRPr kumimoji="0" lang="es-PA" sz="160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3" name="Title 9"/>
          <p:cNvSpPr>
            <a:spLocks noGrp="1"/>
          </p:cNvSpPr>
          <p:nvPr>
            <p:ph type="title"/>
          </p:nvPr>
        </p:nvSpPr>
        <p:spPr>
          <a:xfrm>
            <a:off x="414000" y="201600"/>
            <a:ext cx="5305864" cy="712800"/>
          </a:xfrm>
        </p:spPr>
        <p:txBody>
          <a:bodyPr/>
          <a:lstStyle/>
          <a:p>
            <a:r>
              <a:rPr lang="es-PA" b="1" i="1" dirty="0"/>
              <a:t>El </a:t>
            </a:r>
            <a:r>
              <a:rPr lang="es-PA" b="1" i="1" dirty="0" err="1"/>
              <a:t>eComm</a:t>
            </a:r>
            <a:r>
              <a:rPr lang="es-PA" b="1" i="1" dirty="0"/>
              <a:t> Internacional</a:t>
            </a:r>
            <a:br>
              <a:rPr lang="es-PA" b="1" i="1" dirty="0"/>
            </a:br>
            <a:r>
              <a:rPr lang="es-PA" sz="1600" i="1" dirty="0"/>
              <a:t>La opción de mayor crecimiento para el sector </a:t>
            </a:r>
            <a:r>
              <a:rPr lang="es-PA" sz="1600" i="1" dirty="0" err="1" smtClean="0"/>
              <a:t>Retail</a:t>
            </a:r>
            <a:r>
              <a:rPr lang="es-PA" sz="1600" i="1" dirty="0" smtClean="0"/>
              <a:t> </a:t>
            </a:r>
            <a:endParaRPr lang="es-PA" sz="1600" i="1" dirty="0"/>
          </a:p>
        </p:txBody>
      </p:sp>
    </p:spTree>
    <p:extLst>
      <p:ext uri="{BB962C8B-B14F-4D97-AF65-F5344CB8AC3E}">
        <p14:creationId xmlns:p14="http://schemas.microsoft.com/office/powerpoint/2010/main" val="2187706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8" grpId="0" animBg="1"/>
      <p:bldP spid="6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/>
          <p:cNvSpPr/>
          <p:nvPr/>
        </p:nvSpPr>
        <p:spPr bwMode="auto">
          <a:xfrm>
            <a:off x="1501254" y="2156348"/>
            <a:ext cx="6209742" cy="3563288"/>
          </a:xfrm>
          <a:prstGeom prst="roundRect">
            <a:avLst>
              <a:gd name="adj" fmla="val 6667"/>
            </a:avLst>
          </a:prstGeom>
          <a:noFill/>
          <a:ln w="127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708242" y="2210836"/>
            <a:ext cx="3357349" cy="352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2800" dirty="0" smtClean="0"/>
              <a:t>USA, Reino Unido y China representan el </a:t>
            </a:r>
            <a:r>
              <a:rPr lang="es-MX" sz="3600" b="1" i="1" dirty="0" smtClean="0">
                <a:solidFill>
                  <a:srgbClr val="C00000"/>
                </a:solidFill>
              </a:rPr>
              <a:t>60%</a:t>
            </a:r>
            <a:r>
              <a:rPr lang="es-MX" sz="3200" b="1" i="1" dirty="0" smtClean="0">
                <a:solidFill>
                  <a:srgbClr val="C00000"/>
                </a:solidFill>
              </a:rPr>
              <a:t> </a:t>
            </a:r>
            <a:r>
              <a:rPr lang="es-MX" sz="2800" dirty="0" smtClean="0"/>
              <a:t>de toda la oferta </a:t>
            </a:r>
            <a:r>
              <a:rPr lang="es-MX" sz="2800" dirty="0" err="1" smtClean="0"/>
              <a:t>eComm</a:t>
            </a:r>
            <a:r>
              <a:rPr lang="es-MX" sz="2800" dirty="0" smtClean="0"/>
              <a:t> internacional pero sólo alrededor del </a:t>
            </a:r>
            <a:r>
              <a:rPr lang="es-MX" sz="3200" b="1" i="1" dirty="0" smtClean="0">
                <a:solidFill>
                  <a:srgbClr val="C00000"/>
                </a:solidFill>
              </a:rPr>
              <a:t>30% </a:t>
            </a:r>
            <a:r>
              <a:rPr lang="es-MX" sz="2800" dirty="0" smtClean="0"/>
              <a:t>de la demanda</a:t>
            </a:r>
            <a:endParaRPr lang="es-MX" sz="2800" b="1" i="1" dirty="0" smtClean="0"/>
          </a:p>
        </p:txBody>
      </p:sp>
      <p:pic>
        <p:nvPicPr>
          <p:cNvPr id="115714" name="Picture 2" descr="C:\Users\santimar\Desktop\b99302e5e4d36d7a4af5bf6f17583008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21" t="10451" r="11189" b="10982"/>
          <a:stretch/>
        </p:blipFill>
        <p:spPr bwMode="auto">
          <a:xfrm>
            <a:off x="5232353" y="2699039"/>
            <a:ext cx="2451338" cy="2466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 bwMode="auto">
          <a:xfrm>
            <a:off x="244549" y="0"/>
            <a:ext cx="2307265" cy="30834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359407" y="1269242"/>
            <a:ext cx="5965200" cy="545910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Datos sobre </a:t>
            </a:r>
            <a:r>
              <a:rPr kumimoji="0" lang="es-MX" sz="160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eComm</a:t>
            </a: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a nivel Global</a:t>
            </a:r>
            <a:endParaRPr kumimoji="0" lang="es-PA" sz="160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3" name="Title 9"/>
          <p:cNvSpPr>
            <a:spLocks noGrp="1"/>
          </p:cNvSpPr>
          <p:nvPr>
            <p:ph type="title"/>
          </p:nvPr>
        </p:nvSpPr>
        <p:spPr>
          <a:xfrm>
            <a:off x="414000" y="201600"/>
            <a:ext cx="5305864" cy="712800"/>
          </a:xfrm>
        </p:spPr>
        <p:txBody>
          <a:bodyPr/>
          <a:lstStyle/>
          <a:p>
            <a:r>
              <a:rPr lang="es-PA" b="1" i="1" dirty="0"/>
              <a:t>El </a:t>
            </a:r>
            <a:r>
              <a:rPr lang="es-PA" b="1" i="1" dirty="0" err="1"/>
              <a:t>eComm</a:t>
            </a:r>
            <a:r>
              <a:rPr lang="es-PA" b="1" i="1" dirty="0"/>
              <a:t> Internacional</a:t>
            </a:r>
            <a:br>
              <a:rPr lang="es-PA" b="1" i="1" dirty="0"/>
            </a:br>
            <a:r>
              <a:rPr lang="es-PA" sz="1600" i="1" dirty="0"/>
              <a:t>La opción de mayor crecimiento para el sector </a:t>
            </a:r>
            <a:r>
              <a:rPr lang="es-PA" sz="1600" i="1" dirty="0" err="1" smtClean="0"/>
              <a:t>Retail</a:t>
            </a:r>
            <a:r>
              <a:rPr lang="es-PA" sz="1600" i="1" dirty="0" smtClean="0"/>
              <a:t> </a:t>
            </a:r>
            <a:endParaRPr lang="es-PA" sz="1600" i="1" dirty="0"/>
          </a:p>
        </p:txBody>
      </p:sp>
    </p:spTree>
    <p:extLst>
      <p:ext uri="{BB962C8B-B14F-4D97-AF65-F5344CB8AC3E}">
        <p14:creationId xmlns:p14="http://schemas.microsoft.com/office/powerpoint/2010/main" val="3194810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6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690" name="Picture 2" descr="C:\Users\santimar\Desktop\ecommerce-png-e-commerce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393" t="5610" r="8006" b="7142"/>
          <a:stretch/>
        </p:blipFill>
        <p:spPr bwMode="auto">
          <a:xfrm>
            <a:off x="5138244" y="2905126"/>
            <a:ext cx="2364470" cy="1839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ounded Rectangle 10"/>
          <p:cNvSpPr/>
          <p:nvPr/>
        </p:nvSpPr>
        <p:spPr bwMode="auto">
          <a:xfrm>
            <a:off x="1676400" y="2156348"/>
            <a:ext cx="5859450" cy="3563288"/>
          </a:xfrm>
          <a:prstGeom prst="roundRect">
            <a:avLst>
              <a:gd name="adj" fmla="val 6667"/>
            </a:avLst>
          </a:prstGeom>
          <a:noFill/>
          <a:ln w="127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754454" y="2448353"/>
            <a:ext cx="3418754" cy="3004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es-MX" sz="3200" b="1" i="1" dirty="0" smtClean="0">
                <a:solidFill>
                  <a:srgbClr val="C00000"/>
                </a:solidFill>
              </a:rPr>
              <a:t>20% </a:t>
            </a:r>
            <a:r>
              <a:rPr lang="es-MX" sz="2800" dirty="0" smtClean="0"/>
              <a:t>de las transacciones </a:t>
            </a:r>
            <a:r>
              <a:rPr lang="es-MX" sz="3200" b="1" i="1" dirty="0" smtClean="0">
                <a:solidFill>
                  <a:srgbClr val="C00000"/>
                </a:solidFill>
              </a:rPr>
              <a:t>Internacionales</a:t>
            </a:r>
            <a:r>
              <a:rPr lang="es-MX" sz="2800" dirty="0" smtClean="0"/>
              <a:t> tienen un carrito de compras con un valor superior a </a:t>
            </a:r>
            <a:r>
              <a:rPr lang="es-MX" sz="3200" b="1" i="1" dirty="0" smtClean="0">
                <a:solidFill>
                  <a:srgbClr val="C00000"/>
                </a:solidFill>
              </a:rPr>
              <a:t>US $ 200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244549" y="0"/>
            <a:ext cx="2307265" cy="30834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A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359407" y="1269242"/>
            <a:ext cx="5965200" cy="545910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Datos sobre </a:t>
            </a:r>
            <a:r>
              <a:rPr kumimoji="0" lang="es-MX" sz="1600" i="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</a:rPr>
              <a:t>eComm</a:t>
            </a:r>
            <a:r>
              <a:rPr kumimoji="0" lang="es-MX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a nivel Global</a:t>
            </a:r>
            <a:endParaRPr kumimoji="0" lang="es-PA" sz="160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3" name="Title 9"/>
          <p:cNvSpPr>
            <a:spLocks noGrp="1"/>
          </p:cNvSpPr>
          <p:nvPr>
            <p:ph type="title"/>
          </p:nvPr>
        </p:nvSpPr>
        <p:spPr>
          <a:xfrm>
            <a:off x="414000" y="201600"/>
            <a:ext cx="5305864" cy="712800"/>
          </a:xfrm>
        </p:spPr>
        <p:txBody>
          <a:bodyPr/>
          <a:lstStyle/>
          <a:p>
            <a:r>
              <a:rPr lang="es-PA" b="1" i="1" dirty="0"/>
              <a:t>El </a:t>
            </a:r>
            <a:r>
              <a:rPr lang="es-PA" b="1" i="1" dirty="0" err="1"/>
              <a:t>eComm</a:t>
            </a:r>
            <a:r>
              <a:rPr lang="es-PA" b="1" i="1" dirty="0"/>
              <a:t> Internacional</a:t>
            </a:r>
            <a:br>
              <a:rPr lang="es-PA" b="1" i="1" dirty="0"/>
            </a:br>
            <a:r>
              <a:rPr lang="es-PA" sz="1600" i="1" dirty="0"/>
              <a:t>La opción de mayor crecimiento para el sector </a:t>
            </a:r>
            <a:r>
              <a:rPr lang="es-PA" sz="1600" i="1" dirty="0" err="1" smtClean="0"/>
              <a:t>Retail</a:t>
            </a:r>
            <a:r>
              <a:rPr lang="es-PA" sz="1600" i="1" dirty="0" smtClean="0"/>
              <a:t> </a:t>
            </a:r>
            <a:endParaRPr lang="es-PA" sz="1600" i="1" dirty="0"/>
          </a:p>
        </p:txBody>
      </p:sp>
    </p:spTree>
    <p:extLst>
      <p:ext uri="{BB962C8B-B14F-4D97-AF65-F5344CB8AC3E}">
        <p14:creationId xmlns:p14="http://schemas.microsoft.com/office/powerpoint/2010/main" val="2501489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6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6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xmlns="" name="DHL_PPT_4x3.potx" id="{7C8E855B-1EA4-441A-AFE6-4FD2703896F2}" vid="{0DB52780-A2CB-4DDD-9737-1BA74DDF94EA}"/>
    </a:ext>
  </a:extLst>
</a:theme>
</file>

<file path=ppt/theme/theme2.xml><?xml version="1.0" encoding="utf-8"?>
<a:theme xmlns:a="http://schemas.openxmlformats.org/drawingml/2006/main" name="1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xmlns="" name="DHL_PPT_4x3.potx" id="{7C8E855B-1EA4-441A-AFE6-4FD2703896F2}" vid="{0DB52780-A2CB-4DDD-9737-1BA74DDF94EA}"/>
    </a:ext>
  </a:extLst>
</a:theme>
</file>

<file path=ppt/theme/theme3.xml><?xml version="1.0" encoding="utf-8"?>
<a:theme xmlns:a="http://schemas.openxmlformats.org/drawingml/2006/main" name="Larissa-Design">
  <a:themeElements>
    <a:clrScheme name="DPDHL_Template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FFCC00"/>
      </a:hlink>
      <a:folHlink>
        <a:srgbClr val="D40511"/>
      </a:folHlink>
    </a:clrScheme>
    <a:fontScheme name="DPDHL PowerPoint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DPDHL_Template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FFCC00"/>
      </a:hlink>
      <a:folHlink>
        <a:srgbClr val="D40511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HL_PPT_4x3</Template>
  <TotalTime>32334</TotalTime>
  <Words>810</Words>
  <Application>Microsoft Office PowerPoint</Application>
  <PresentationFormat>Presentación en pantalla (4:3)</PresentationFormat>
  <Paragraphs>134</Paragraphs>
  <Slides>20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0</vt:i4>
      </vt:variant>
    </vt:vector>
  </HeadingPairs>
  <TitlesOfParts>
    <vt:vector size="23" baseType="lpstr">
      <vt:lpstr>DHL_PPT_4x3</vt:lpstr>
      <vt:lpstr>1_DHL_PPT_4x3</vt:lpstr>
      <vt:lpstr>think-cell Folie</vt:lpstr>
      <vt:lpstr>Presentación de PowerPoint</vt:lpstr>
      <vt:lpstr>El eComm Internacional La opción de mayor crecimiento para el sector Retail </vt:lpstr>
      <vt:lpstr>El eComm Internacional La opción de mayor crecimiento para el sector Retail </vt:lpstr>
      <vt:lpstr>El eComm Internacional La opción de mayor crecimiento para el sector Retail </vt:lpstr>
      <vt:lpstr>El eComm Internacional La opción de mayor crecimiento para el sector Retail </vt:lpstr>
      <vt:lpstr>El eComm Internacional La opción de mayor crecimiento para el sector Retail </vt:lpstr>
      <vt:lpstr>El eComm Internacional La opción de mayor crecimiento para el sector Retail </vt:lpstr>
      <vt:lpstr>El eComm Internacional La opción de mayor crecimiento para el sector Retail </vt:lpstr>
      <vt:lpstr>El eComm Internacional La opción de mayor crecimiento para el sector Retail </vt:lpstr>
      <vt:lpstr>El eComm Internacional La opción de mayor crecimiento para el sector Retail </vt:lpstr>
      <vt:lpstr>El eComm Internacional La opción de mayor crecimiento para el sector Retail </vt:lpstr>
      <vt:lpstr>El eComm Internacional La opción de mayor crecimiento para el sector Retail </vt:lpstr>
      <vt:lpstr>El eComm Internacional La opción de mayor crecimiento para el sector Retail </vt:lpstr>
      <vt:lpstr>El eComm Internacional La opción de mayor crecimiento para el sector Retail </vt:lpstr>
      <vt:lpstr>El eComm Internacional La opción de mayor crecimiento para el sector Retail </vt:lpstr>
      <vt:lpstr>El eComm Internacional La opción de mayor crecimiento para el sector Retail </vt:lpstr>
      <vt:lpstr>El eComm Internacional La opción de mayor crecimiento para el sector Retail </vt:lpstr>
      <vt:lpstr>El eComm Internacional La opción de mayor crecimiento para el sector Retail </vt:lpstr>
      <vt:lpstr>El eComm Internacional La opción de mayor crecimiento para el sector Retail </vt:lpstr>
      <vt:lpstr>El eComm Internacional La opción de mayor crecimiento para el sector Retail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ound Ops Dashboard</dc:title>
  <dc:subject>Leading indicators monthly follow up</dc:subject>
  <dc:creator>Marcela Domato</dc:creator>
  <cp:lastModifiedBy>ITG06</cp:lastModifiedBy>
  <cp:revision>1075</cp:revision>
  <cp:lastPrinted>2017-04-20T19:36:49Z</cp:lastPrinted>
  <dcterms:created xsi:type="dcterms:W3CDTF">2015-02-06T08:33:39Z</dcterms:created>
  <dcterms:modified xsi:type="dcterms:W3CDTF">2017-04-28T12:51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fzeichnungsdatum">
    <vt:lpwstr>June 2013</vt:lpwstr>
  </property>
  <property fmtid="{D5CDD505-2E9C-101B-9397-08002B2CF9AE}" pid="3" name="Dokumentnummer">
    <vt:lpwstr>1.0</vt:lpwstr>
  </property>
  <property fmtid="{D5CDD505-2E9C-101B-9397-08002B2CF9AE}" pid="4" name="Office">
    <vt:lpwstr>2007/2010</vt:lpwstr>
  </property>
</Properties>
</file>